
<file path=[Content_Types].xml><?xml version="1.0" encoding="utf-8"?>
<Types xmlns="http://schemas.openxmlformats.org/package/2006/content-types">
  <Override PartName="/ppt/slideLayouts/slideLayout8.xml" ContentType="application/vnd.openxmlformats-officedocument.presentationml.slideLayout+xml"/>
  <Override PartName="/ppt/notesSlides/notesSlide2.xml" ContentType="application/vnd.openxmlformats-officedocument.presentationml.notesSlide+xml"/>
  <Override PartName="/ppt/tags/tag13.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notesSlides/notesSlide11.xml" ContentType="application/vnd.openxmlformats-officedocument.presentationml.notesSlide+xml"/>
  <Override PartName="/ppt/slides/slide2.xml" ContentType="application/vnd.openxmlformats-officedocument.presentationml.slide+xml"/>
  <Override PartName="/docProps/app.xml" ContentType="application/vnd.openxmlformats-officedocument.extended-properties+xml"/>
  <Override PartName="/ppt/notesSlides/notesSlide9.xml" ContentType="application/vnd.openxmlformats-officedocument.presentationml.notesSlide+xml"/>
  <Override PartName="/ppt/tags/tag15.xml" ContentType="application/vnd.openxmlformats-officedocument.presentationml.tags+xml"/>
  <Override PartName="/ppt/tags/tag22.xml" ContentType="application/vnd.openxmlformats-officedocument.presentationml.tags+xml"/>
  <Override PartName="/ppt/slides/slide11.xml" ContentType="application/vnd.openxmlformats-officedocument.presentationml.slide+xml"/>
  <Override PartName="/ppt/theme/theme3.xml" ContentType="application/vnd.openxmlformats-officedocument.theme+xml"/>
  <Override PartName="/ppt/slideLayouts/slideLayout3.xml" ContentType="application/vnd.openxmlformats-officedocument.presentationml.slideLayout+xml"/>
  <Override PartName="/ppt/slideLayouts/slideLayout5.xml" ContentType="application/vnd.openxmlformats-officedocument.presentationml.slideLayout+xml"/>
  <Override PartName="/ppt/tags/tag3.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notesMasters/notesMaster1.xml" ContentType="application/vnd.openxmlformats-officedocument.presentationml.notesMaster+xml"/>
  <Override PartName="/ppt/slides/slide1.xml" ContentType="application/vnd.openxmlformats-officedocument.presentationml.slide+xml"/>
  <Override PartName="/ppt/tableStyles.xml" ContentType="application/vnd.openxmlformats-officedocument.presentationml.tableStyles+xml"/>
  <Default Extension="xml" ContentType="application/xml"/>
  <Override PartName="/ppt/slides/slide7.xml" ContentType="application/vnd.openxmlformats-officedocument.presentationml.slide+xml"/>
  <Override PartName="/ppt/viewProps.xml" ContentType="application/vnd.openxmlformats-officedocument.presentationml.viewProps+xml"/>
  <Override PartName="/ppt/slideMasters/slideMaster1.xml" ContentType="application/vnd.openxmlformats-officedocument.presentationml.slideMaster+xml"/>
  <Override PartName="/ppt/notesSlides/notesSlide7.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tags/tag18.xml" ContentType="application/vnd.openxmlformats-officedocument.presentationml.tags+xml"/>
  <Override PartName="/ppt/handoutMasters/handoutMaster1.xml" ContentType="application/vnd.openxmlformats-officedocument.presentationml.handoutMaster+xml"/>
  <Override PartName="/ppt/tags/tag9.xml" ContentType="application/vnd.openxmlformats-officedocument.presentationml.tags+xml"/>
  <Override PartName="/ppt/tags/tag21.xml" ContentType="application/vnd.openxmlformats-officedocument.presentationml.tags+xml"/>
  <Override PartName="/ppt/notesSlides/notesSlide12.xml" ContentType="application/vnd.openxmlformats-officedocument.presentationml.notesSlide+xml"/>
  <Override PartName="/ppt/notesSlides/notesSlide6.xml" ContentType="application/vnd.openxmlformats-officedocument.presentationml.notesSlide+xml"/>
  <Override PartName="/ppt/tags/tag12.xml" ContentType="application/vnd.openxmlformats-officedocument.presentationml.tags+xml"/>
  <Override PartName="/ppt/slideLayouts/slideLayout4.xml" ContentType="application/vnd.openxmlformats-officedocument.presentationml.slideLayout+xml"/>
  <Override PartName="/ppt/notesSlides/notesSlide5.xml" ContentType="application/vnd.openxmlformats-officedocument.presentationml.notesSlide+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notesSlides/notesSlide1.xml" ContentType="application/vnd.openxmlformats-officedocument.presentationml.notesSlide+xml"/>
  <Override PartName="/ppt/tags/tag24.xml" ContentType="application/vnd.openxmlformats-officedocument.presentationml.tags+xml"/>
  <Override PartName="/ppt/theme/theme1.xml" ContentType="application/vnd.openxmlformats-officedocument.theme+xml"/>
  <Override PartName="/ppt/slideLayouts/slideLayout6.xml" ContentType="application/vnd.openxmlformats-officedocument.presentationml.slideLayout+xml"/>
  <Override PartName="/ppt/tags/tag10.xml" ContentType="application/vnd.openxmlformats-officedocument.presentationml.tags+xml"/>
  <Override PartName="/ppt/presentation.xml" ContentType="application/vnd.openxmlformats-officedocument.presentationml.presentation.main+xml"/>
  <Override PartName="/ppt/tags/tag27.xml" ContentType="application/vnd.openxmlformats-officedocument.presentationml.tags+xml"/>
  <Override PartName="/ppt/slides/slide5.xml" ContentType="application/vnd.openxmlformats-officedocument.presentationml.slide+xml"/>
  <Override PartName="/ppt/slides/slide10.xml" ContentType="application/vnd.openxmlformats-officedocument.presentationml.slide+xml"/>
  <Override PartName="/ppt/slideLayouts/slideLayout7.xml" ContentType="application/vnd.openxmlformats-officedocument.presentationml.slideLayout+xml"/>
  <Override PartName="/ppt/tags/tag23.xml" ContentType="application/vnd.openxmlformats-officedocument.presentationml.tags+xml"/>
  <Override PartName="/ppt/presProps.xml" ContentType="application/vnd.openxmlformats-officedocument.presentationml.presProps+xml"/>
  <Default Extension="jpeg" ContentType="image/jpeg"/>
  <Override PartName="/ppt/tags/tag14.xml" ContentType="application/vnd.openxmlformats-officedocument.presentationml.tags+xml"/>
  <Default Extension="png" ContentType="image/png"/>
  <Override PartName="/ppt/slides/slide3.xml" ContentType="application/vnd.openxmlformats-officedocument.presentationml.slide+xml"/>
  <Override PartName="/ppt/slides/slide4.xml" ContentType="application/vnd.openxmlformats-officedocument.presentationml.slide+xml"/>
  <Override PartName="/ppt/tags/tag7.xml" ContentType="application/vnd.openxmlformats-officedocument.presentationml.tags+xml"/>
  <Override PartName="/ppt/tags/tag5.xml" ContentType="application/vnd.openxmlformats-officedocument.presentationml.tags+xml"/>
  <Override PartName="/ppt/tags/tag25.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ppt/tags/tag16.xml" ContentType="application/vnd.openxmlformats-officedocument.presentationml.tags+xml"/>
  <Override PartName="/ppt/tags/tag19.xml" ContentType="application/vnd.openxmlformats-officedocument.presentationml.tags+xml"/>
  <Override PartName="/ppt/slides/slide8.xml" ContentType="application/vnd.openxmlformats-officedocument.presentationml.slide+xml"/>
  <Default Extension="bin" ContentType="application/vnd.openxmlformats-officedocument.presentationml.printerSettings"/>
  <Override PartName="/ppt/notesSlides/notesSlide10.xml" ContentType="application/vnd.openxmlformats-officedocument.presentationml.notesSlide+xml"/>
  <Override PartName="/ppt/tags/tag8.xml" ContentType="application/vnd.openxmlformats-officedocument.presentationml.tags+xml"/>
  <Override PartName="/ppt/slides/slide9.xml" ContentType="application/vnd.openxmlformats-officedocument.presentationml.slide+xml"/>
  <Override PartName="/ppt/tags/tag26.xml" ContentType="application/vnd.openxmlformats-officedocument.presentationml.tags+xml"/>
  <Default Extension="rels" ContentType="application/vnd.openxmlformats-package.relationships+xml"/>
  <Override PartName="/ppt/tags/tag1.xml" ContentType="application/vnd.openxmlformats-officedocument.presentationml.tags+xml"/>
  <Override PartName="/ppt/slides/slide6.xml" ContentType="application/vnd.openxmlformats-officedocument.presentationml.slide+xml"/>
  <Default Extension="pdf" ContentType="application/pdf"/>
  <Override PartName="/ppt/tags/tag6.xml" ContentType="application/vnd.openxmlformats-officedocument.presentationml.tags+xml"/>
  <Override PartName="/ppt/tags/tag11.xml" ContentType="application/vnd.openxmlformats-officedocument.presentationml.tags+xml"/>
  <Override PartName="/ppt/slides/slide12.xml" ContentType="application/vnd.openxmlformats-officedocument.presentationml.slide+xml"/>
  <Override PartName="/ppt/tags/tag2.xml" ContentType="application/vnd.openxmlformats-officedocument.presentationml.tags+xml"/>
</Types>
</file>

<file path=_rels/.rels><?xml version="1.0" encoding="UTF-8" standalone="yes"?>
<Relationships xmlns="http://schemas.openxmlformats.org/package/2006/relationships"><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 Id="rId3"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aveSubsetFonts="1" autoCompressPictures="0">
  <p:sldMasterIdLst>
    <p:sldMasterId id="2147483660" r:id="rId1"/>
  </p:sldMasterIdLst>
  <p:notesMasterIdLst>
    <p:notesMasterId r:id="rId14"/>
  </p:notesMasterIdLst>
  <p:handoutMasterIdLst>
    <p:handoutMasterId r:id="rId15"/>
  </p:handoutMasterIdLst>
  <p:sldIdLst>
    <p:sldId id="272" r:id="rId2"/>
    <p:sldId id="347" r:id="rId3"/>
    <p:sldId id="401" r:id="rId4"/>
    <p:sldId id="423" r:id="rId5"/>
    <p:sldId id="429" r:id="rId6"/>
    <p:sldId id="417" r:id="rId7"/>
    <p:sldId id="421" r:id="rId8"/>
    <p:sldId id="307" r:id="rId9"/>
    <p:sldId id="399" r:id="rId10"/>
    <p:sldId id="407" r:id="rId11"/>
    <p:sldId id="408" r:id="rId12"/>
    <p:sldId id="428" r:id="rId13"/>
  </p:sldIdLst>
  <p:sldSz cx="9144000" cy="6858000" type="screen4x3"/>
  <p:notesSz cx="6858000" cy="9144000"/>
  <p:defaultTextStyle>
    <a:defPPr>
      <a:defRPr lang="en-US"/>
    </a:defPPr>
    <a:lvl1pPr algn="l" defTabSz="457200" rtl="0" fontAlgn="base">
      <a:spcBef>
        <a:spcPct val="0"/>
      </a:spcBef>
      <a:spcAft>
        <a:spcPct val="0"/>
      </a:spcAft>
      <a:defRPr sz="2400" kern="1200">
        <a:solidFill>
          <a:schemeClr val="tx1"/>
        </a:solidFill>
        <a:latin typeface="Arial" pitchFamily="-123" charset="0"/>
        <a:ea typeface="ＭＳ Ｐゴシック" pitchFamily="-123" charset="-128"/>
        <a:cs typeface="ＭＳ Ｐゴシック" pitchFamily="-123" charset="-128"/>
      </a:defRPr>
    </a:lvl1pPr>
    <a:lvl2pPr marL="457200" algn="l" defTabSz="457200" rtl="0" fontAlgn="base">
      <a:spcBef>
        <a:spcPct val="0"/>
      </a:spcBef>
      <a:spcAft>
        <a:spcPct val="0"/>
      </a:spcAft>
      <a:defRPr sz="2400" kern="1200">
        <a:solidFill>
          <a:schemeClr val="tx1"/>
        </a:solidFill>
        <a:latin typeface="Arial" pitchFamily="-123" charset="0"/>
        <a:ea typeface="ＭＳ Ｐゴシック" pitchFamily="-123" charset="-128"/>
        <a:cs typeface="ＭＳ Ｐゴシック" pitchFamily="-123" charset="-128"/>
      </a:defRPr>
    </a:lvl2pPr>
    <a:lvl3pPr marL="914400" algn="l" defTabSz="457200" rtl="0" fontAlgn="base">
      <a:spcBef>
        <a:spcPct val="0"/>
      </a:spcBef>
      <a:spcAft>
        <a:spcPct val="0"/>
      </a:spcAft>
      <a:defRPr sz="2400" kern="1200">
        <a:solidFill>
          <a:schemeClr val="tx1"/>
        </a:solidFill>
        <a:latin typeface="Arial" pitchFamily="-123" charset="0"/>
        <a:ea typeface="ＭＳ Ｐゴシック" pitchFamily="-123" charset="-128"/>
        <a:cs typeface="ＭＳ Ｐゴシック" pitchFamily="-123" charset="-128"/>
      </a:defRPr>
    </a:lvl3pPr>
    <a:lvl4pPr marL="1371600" algn="l" defTabSz="457200" rtl="0" fontAlgn="base">
      <a:spcBef>
        <a:spcPct val="0"/>
      </a:spcBef>
      <a:spcAft>
        <a:spcPct val="0"/>
      </a:spcAft>
      <a:defRPr sz="2400" kern="1200">
        <a:solidFill>
          <a:schemeClr val="tx1"/>
        </a:solidFill>
        <a:latin typeface="Arial" pitchFamily="-123" charset="0"/>
        <a:ea typeface="ＭＳ Ｐゴシック" pitchFamily="-123" charset="-128"/>
        <a:cs typeface="ＭＳ Ｐゴシック" pitchFamily="-123" charset="-128"/>
      </a:defRPr>
    </a:lvl4pPr>
    <a:lvl5pPr marL="1828800" algn="l" defTabSz="457200" rtl="0" fontAlgn="base">
      <a:spcBef>
        <a:spcPct val="0"/>
      </a:spcBef>
      <a:spcAft>
        <a:spcPct val="0"/>
      </a:spcAft>
      <a:defRPr sz="2400" kern="1200">
        <a:solidFill>
          <a:schemeClr val="tx1"/>
        </a:solidFill>
        <a:latin typeface="Arial" pitchFamily="-123" charset="0"/>
        <a:ea typeface="ＭＳ Ｐゴシック" pitchFamily="-123" charset="-128"/>
        <a:cs typeface="ＭＳ Ｐゴシック" pitchFamily="-123" charset="-128"/>
      </a:defRPr>
    </a:lvl5pPr>
    <a:lvl6pPr marL="2286000" algn="l" defTabSz="457200" rtl="0" eaLnBrk="1" latinLnBrk="0" hangingPunct="1">
      <a:defRPr sz="2400" kern="1200">
        <a:solidFill>
          <a:schemeClr val="tx1"/>
        </a:solidFill>
        <a:latin typeface="Arial" pitchFamily="-123" charset="0"/>
        <a:ea typeface="ＭＳ Ｐゴシック" pitchFamily="-123" charset="-128"/>
        <a:cs typeface="ＭＳ Ｐゴシック" pitchFamily="-123" charset="-128"/>
      </a:defRPr>
    </a:lvl6pPr>
    <a:lvl7pPr marL="2743200" algn="l" defTabSz="457200" rtl="0" eaLnBrk="1" latinLnBrk="0" hangingPunct="1">
      <a:defRPr sz="2400" kern="1200">
        <a:solidFill>
          <a:schemeClr val="tx1"/>
        </a:solidFill>
        <a:latin typeface="Arial" pitchFamily="-123" charset="0"/>
        <a:ea typeface="ＭＳ Ｐゴシック" pitchFamily="-123" charset="-128"/>
        <a:cs typeface="ＭＳ Ｐゴシック" pitchFamily="-123" charset="-128"/>
      </a:defRPr>
    </a:lvl7pPr>
    <a:lvl8pPr marL="3200400" algn="l" defTabSz="457200" rtl="0" eaLnBrk="1" latinLnBrk="0" hangingPunct="1">
      <a:defRPr sz="2400" kern="1200">
        <a:solidFill>
          <a:schemeClr val="tx1"/>
        </a:solidFill>
        <a:latin typeface="Arial" pitchFamily="-123" charset="0"/>
        <a:ea typeface="ＭＳ Ｐゴシック" pitchFamily="-123" charset="-128"/>
        <a:cs typeface="ＭＳ Ｐゴシック" pitchFamily="-123" charset="-128"/>
      </a:defRPr>
    </a:lvl8pPr>
    <a:lvl9pPr marL="3657600" algn="l" defTabSz="457200" rtl="0" eaLnBrk="1" latinLnBrk="0" hangingPunct="1">
      <a:defRPr sz="2400" kern="1200">
        <a:solidFill>
          <a:schemeClr val="tx1"/>
        </a:solidFill>
        <a:latin typeface="Arial" pitchFamily="-123" charset="0"/>
        <a:ea typeface="ＭＳ Ｐゴシック" pitchFamily="-123" charset="-128"/>
        <a:cs typeface="ＭＳ Ｐゴシック" pitchFamily="-123" charset="-128"/>
      </a:defRPr>
    </a:lvl9pPr>
  </p:defaultTextStyle>
</p:presentation>
</file>

<file path=ppt/presProps.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lrMru>
    <a:srgbClr val="73E44F"/>
    <a:srgbClr val="B32930"/>
    <a:srgbClr val="898882"/>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normalViewPr>
    <p:restoredLeft sz="20747" autoAdjust="0"/>
    <p:restoredTop sz="90755" autoAdjust="0"/>
  </p:normalViewPr>
  <p:slideViewPr>
    <p:cSldViewPr snapToObjects="1">
      <p:cViewPr>
        <p:scale>
          <a:sx n="100" d="100"/>
          <a:sy n="100" d="100"/>
        </p:scale>
        <p:origin x="-640" y="-9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576"/>
    </p:cViewPr>
  </p:sorterViewPr>
  <p:gridSpacing cx="73736200" cy="73736200"/>
</p:viewPr>
</file>

<file path=ppt/_rels/presentation.xml.rels><?xml version="1.0" encoding="UTF-8" standalone="yes"?>
<Relationships xmlns="http://schemas.openxmlformats.org/package/2006/relationships"><Relationship Id="rId14" Type="http://schemas.openxmlformats.org/officeDocument/2006/relationships/notesMaster" Target="notesMasters/notesMaster1.xml"/><Relationship Id="rId20" Type="http://schemas.openxmlformats.org/officeDocument/2006/relationships/tableStyles" Target="tableStyles.xml"/><Relationship Id="rId4" Type="http://schemas.openxmlformats.org/officeDocument/2006/relationships/slide" Target="slides/slide3.xml"/><Relationship Id="rId7" Type="http://schemas.openxmlformats.org/officeDocument/2006/relationships/slide" Target="slides/slide6.xml"/><Relationship Id="rId11" Type="http://schemas.openxmlformats.org/officeDocument/2006/relationships/slide" Target="slides/slide10.xml"/><Relationship Id="rId1" Type="http://schemas.openxmlformats.org/officeDocument/2006/relationships/slideMaster" Target="slideMasters/slideMaster1.xml"/><Relationship Id="rId6" Type="http://schemas.openxmlformats.org/officeDocument/2006/relationships/slide" Target="slides/slide5.xml"/><Relationship Id="rId16" Type="http://schemas.openxmlformats.org/officeDocument/2006/relationships/printerSettings" Target="printerSettings/printerSettings1.bin"/><Relationship Id="rId8" Type="http://schemas.openxmlformats.org/officeDocument/2006/relationships/slide" Target="slides/slide7.xml"/><Relationship Id="rId13" Type="http://schemas.openxmlformats.org/officeDocument/2006/relationships/slide" Target="slides/slide12.xml"/><Relationship Id="rId10" Type="http://schemas.openxmlformats.org/officeDocument/2006/relationships/slide" Target="slides/slide9.xml"/><Relationship Id="rId5" Type="http://schemas.openxmlformats.org/officeDocument/2006/relationships/slide" Target="slides/slide4.xml"/><Relationship Id="rId15" Type="http://schemas.openxmlformats.org/officeDocument/2006/relationships/handoutMaster" Target="handoutMasters/handoutMaster1.xml"/><Relationship Id="rId12" Type="http://schemas.openxmlformats.org/officeDocument/2006/relationships/slide" Target="slides/slide11.xml"/><Relationship Id="rId17" Type="http://schemas.openxmlformats.org/officeDocument/2006/relationships/presProps" Target="presProps.xml"/><Relationship Id="rId19" Type="http://schemas.openxmlformats.org/officeDocument/2006/relationships/theme" Target="theme/theme1.xml"/><Relationship Id="rId2" Type="http://schemas.openxmlformats.org/officeDocument/2006/relationships/slide" Target="slides/slide1.xml"/><Relationship Id="rId9" Type="http://schemas.openxmlformats.org/officeDocument/2006/relationships/slide" Target="slides/slide8.xml"/><Relationship Id="rId3" Type="http://schemas.openxmlformats.org/officeDocument/2006/relationships/slide" Target="slides/slide2.xml"/><Relationship Id="rId18"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C9A0458D-A604-48D9-B328-8B1AC459C033}" type="datetimeFigureOut">
              <a:rPr lang="en-US"/>
              <a:pPr>
                <a:defRPr/>
              </a:pPr>
              <a:t>7/9/10</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52760FF6-C147-4C14-ADD5-195E9B31F7B9}" type="slidenum">
              <a:rPr lang="en-US"/>
              <a:pPr>
                <a:defRPr/>
              </a:pPr>
              <a:t>‹#›</a:t>
            </a:fld>
            <a:endParaRPr lang="en-US" dirty="0"/>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76491B3C-35A5-476F-BE01-E53D3E4B073F}" type="datetimeFigureOut">
              <a:rPr lang="en-US"/>
              <a:pPr>
                <a:defRPr/>
              </a:pPr>
              <a:t>7/7/10</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826742B7-8864-496D-A0BC-FC343245389B}" type="slidenum">
              <a:rPr lang="en-US"/>
              <a:pPr>
                <a:defRPr/>
              </a:pPr>
              <a:t>‹#›</a:t>
            </a:fld>
            <a:endParaRPr lang="en-US" dirty="0"/>
          </a:p>
        </p:txBody>
      </p:sp>
    </p:spTree>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3" Type="http://schemas.openxmlformats.org/officeDocument/2006/relationships/hyperlink" Target="http://www.vimeo.com/11508426" TargetMode="Externa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3313" name="Placeholder 2"/>
          <p:cNvSpPr>
            <a:spLocks noGrp="1" noRot="1" noChangeAspect="1"/>
          </p:cNvSpPr>
          <p:nvPr>
            <p:ph type="sldImg"/>
          </p:nvPr>
        </p:nvSpPr>
        <p:spPr bwMode="auto">
          <a:noFill/>
          <a:ln>
            <a:solidFill>
              <a:srgbClr val="000000"/>
            </a:solidFill>
            <a:miter lim="800000"/>
            <a:headEnd/>
            <a:tailEnd/>
          </a:ln>
        </p:spPr>
      </p:sp>
      <p:sp>
        <p:nvSpPr>
          <p:cNvPr id="13314" name="Placeholder 3"/>
          <p:cNvSpPr>
            <a:spLocks noGrp="1"/>
          </p:cNvSpPr>
          <p:nvPr>
            <p:ph type="body" idx="1"/>
          </p:nvPr>
        </p:nvSpPr>
        <p:spPr bwMode="auto">
          <a:noFill/>
        </p:spPr>
        <p:txBody>
          <a:bodyPr wrap="square" numCol="1" anchor="t" anchorCtr="0" compatLnSpc="1">
            <a:prstTxWarp prst="textNoShape">
              <a:avLst/>
            </a:prstTxWarp>
          </a:bodyPr>
          <a:lstStyle/>
          <a:p>
            <a:endParaRPr lang="en-US">
              <a:ea typeface="ＭＳ Ｐゴシック" pitchFamily="-123" charset="-128"/>
              <a:cs typeface="ＭＳ Ｐゴシック" pitchFamily="-123"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9937" name="Placeholder 2"/>
          <p:cNvSpPr>
            <a:spLocks noGrp="1" noRot="1" noChangeAspect="1"/>
          </p:cNvSpPr>
          <p:nvPr>
            <p:ph type="sldImg"/>
          </p:nvPr>
        </p:nvSpPr>
        <p:spPr bwMode="auto">
          <a:noFill/>
          <a:ln>
            <a:solidFill>
              <a:srgbClr val="000000"/>
            </a:solidFill>
            <a:miter lim="800000"/>
            <a:headEnd/>
            <a:tailEnd/>
          </a:ln>
        </p:spPr>
      </p:sp>
      <p:sp>
        <p:nvSpPr>
          <p:cNvPr id="39938" name="Placeholder 3"/>
          <p:cNvSpPr>
            <a:spLocks noGrp="1"/>
          </p:cNvSpPr>
          <p:nvPr>
            <p:ph type="body" idx="1"/>
          </p:nvPr>
        </p:nvSpPr>
        <p:spPr bwMode="auto">
          <a:noFill/>
        </p:spPr>
        <p:txBody>
          <a:bodyPr wrap="square" numCol="1" anchor="t" anchorCtr="0" compatLnSpc="1">
            <a:prstTxWarp prst="textNoShape">
              <a:avLst/>
            </a:prstTxWarp>
          </a:bodyPr>
          <a:lstStyle/>
          <a:p>
            <a:endParaRPr lang="en-US">
              <a:ea typeface="ＭＳ Ｐゴシック" pitchFamily="-123" charset="-128"/>
              <a:cs typeface="ＭＳ Ｐゴシック" pitchFamily="-123" charset="-128"/>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1985" name="Placeholder 2"/>
          <p:cNvSpPr>
            <a:spLocks noGrp="1" noRot="1" noChangeAspect="1"/>
          </p:cNvSpPr>
          <p:nvPr>
            <p:ph type="sldImg"/>
          </p:nvPr>
        </p:nvSpPr>
        <p:spPr bwMode="auto">
          <a:noFill/>
          <a:ln>
            <a:solidFill>
              <a:srgbClr val="000000"/>
            </a:solidFill>
            <a:miter lim="800000"/>
            <a:headEnd/>
            <a:tailEnd/>
          </a:ln>
        </p:spPr>
      </p:sp>
      <p:sp>
        <p:nvSpPr>
          <p:cNvPr id="41986" name="Placeholder 3"/>
          <p:cNvSpPr>
            <a:spLocks noGrp="1"/>
          </p:cNvSpPr>
          <p:nvPr>
            <p:ph type="body" idx="1"/>
          </p:nvPr>
        </p:nvSpPr>
        <p:spPr bwMode="auto">
          <a:noFill/>
        </p:spPr>
        <p:txBody>
          <a:bodyPr wrap="square" numCol="1" anchor="t" anchorCtr="0" compatLnSpc="1">
            <a:prstTxWarp prst="textNoShape">
              <a:avLst/>
            </a:prstTxWarp>
          </a:bodyPr>
          <a:lstStyle/>
          <a:p>
            <a:endParaRPr lang="en-US">
              <a:ea typeface="ＭＳ Ｐゴシック" pitchFamily="-123" charset="-128"/>
              <a:cs typeface="ＭＳ Ｐゴシック" pitchFamily="-123" charset="-128"/>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4033" name="Placeholder 2"/>
          <p:cNvSpPr>
            <a:spLocks noGrp="1" noRot="1" noChangeAspect="1"/>
          </p:cNvSpPr>
          <p:nvPr>
            <p:ph type="sldImg"/>
          </p:nvPr>
        </p:nvSpPr>
        <p:spPr bwMode="auto">
          <a:noFill/>
          <a:ln>
            <a:solidFill>
              <a:srgbClr val="000000"/>
            </a:solidFill>
            <a:miter lim="800000"/>
            <a:headEnd/>
            <a:tailEnd/>
          </a:ln>
        </p:spPr>
      </p:sp>
      <p:sp>
        <p:nvSpPr>
          <p:cNvPr id="44034" name="Placeholder 3"/>
          <p:cNvSpPr>
            <a:spLocks noGrp="1"/>
          </p:cNvSpPr>
          <p:nvPr>
            <p:ph type="body" idx="1"/>
          </p:nvPr>
        </p:nvSpPr>
        <p:spPr bwMode="auto">
          <a:noFill/>
        </p:spPr>
        <p:txBody>
          <a:bodyPr wrap="square" numCol="1" anchor="t" anchorCtr="0" compatLnSpc="1">
            <a:prstTxWarp prst="textNoShape">
              <a:avLst/>
            </a:prstTxWarp>
          </a:bodyPr>
          <a:lstStyle/>
          <a:p>
            <a:endParaRPr lang="en-US">
              <a:ea typeface="ＭＳ Ｐゴシック" pitchFamily="-123" charset="-128"/>
              <a:cs typeface="ＭＳ Ｐゴシック" pitchFamily="-123"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5361" name="Placeholder 2"/>
          <p:cNvSpPr>
            <a:spLocks noGrp="1" noRot="1" noChangeAspect="1"/>
          </p:cNvSpPr>
          <p:nvPr>
            <p:ph type="sldImg"/>
          </p:nvPr>
        </p:nvSpPr>
        <p:spPr bwMode="auto">
          <a:noFill/>
          <a:ln>
            <a:solidFill>
              <a:srgbClr val="000000"/>
            </a:solidFill>
            <a:miter lim="800000"/>
            <a:headEnd/>
            <a:tailEnd/>
          </a:ln>
        </p:spPr>
      </p:sp>
      <p:sp>
        <p:nvSpPr>
          <p:cNvPr id="15362" name="Placeholder 3"/>
          <p:cNvSpPr>
            <a:spLocks noGrp="1"/>
          </p:cNvSpPr>
          <p:nvPr>
            <p:ph type="body" idx="1"/>
          </p:nvPr>
        </p:nvSpPr>
        <p:spPr bwMode="auto">
          <a:noFill/>
        </p:spPr>
        <p:txBody>
          <a:bodyPr wrap="square" numCol="1" anchor="t" anchorCtr="0" compatLnSpc="1">
            <a:prstTxWarp prst="textNoShape">
              <a:avLst/>
            </a:prstTxWarp>
          </a:bodyPr>
          <a:lstStyle/>
          <a:p>
            <a:endParaRPr lang="en-US">
              <a:ea typeface="ＭＳ Ｐゴシック" pitchFamily="-123" charset="-128"/>
              <a:cs typeface="ＭＳ Ｐゴシック" pitchFamily="-123"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7409" name="Placeholder 2"/>
          <p:cNvSpPr>
            <a:spLocks noGrp="1" noRot="1" noChangeAspect="1"/>
          </p:cNvSpPr>
          <p:nvPr>
            <p:ph type="sldImg"/>
          </p:nvPr>
        </p:nvSpPr>
        <p:spPr bwMode="auto">
          <a:noFill/>
          <a:ln>
            <a:solidFill>
              <a:srgbClr val="000000"/>
            </a:solidFill>
            <a:miter lim="800000"/>
            <a:headEnd/>
            <a:tailEnd/>
          </a:ln>
        </p:spPr>
      </p:sp>
      <p:sp>
        <p:nvSpPr>
          <p:cNvPr id="17410" name="Placeholder 3"/>
          <p:cNvSpPr>
            <a:spLocks noGrp="1"/>
          </p:cNvSpPr>
          <p:nvPr>
            <p:ph type="body" idx="1"/>
          </p:nvPr>
        </p:nvSpPr>
        <p:spPr bwMode="auto">
          <a:noFill/>
        </p:spPr>
        <p:txBody>
          <a:bodyPr wrap="square" numCol="1" anchor="t" anchorCtr="0" compatLnSpc="1">
            <a:prstTxWarp prst="textNoShape">
              <a:avLst/>
            </a:prstTxWarp>
          </a:bodyPr>
          <a:lstStyle/>
          <a:p>
            <a:endParaRPr lang="en-US">
              <a:ea typeface="ＭＳ Ｐゴシック" pitchFamily="-123" charset="-128"/>
              <a:cs typeface="ＭＳ Ｐゴシック" pitchFamily="-123"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Placeholder 2"/>
          <p:cNvSpPr>
            <a:spLocks noGrp="1" noRot="1" noChangeAspect="1"/>
          </p:cNvSpPr>
          <p:nvPr>
            <p:ph type="sldImg"/>
          </p:nvPr>
        </p:nvSpPr>
        <p:spPr bwMode="auto">
          <a:noFill/>
          <a:ln>
            <a:solidFill>
              <a:srgbClr val="000000"/>
            </a:solidFill>
            <a:miter lim="800000"/>
            <a:headEnd/>
            <a:tailEnd/>
          </a:ln>
        </p:spPr>
      </p:sp>
      <p:sp>
        <p:nvSpPr>
          <p:cNvPr id="19458" name="Placeholder 3"/>
          <p:cNvSpPr>
            <a:spLocks noGrp="1"/>
          </p:cNvSpPr>
          <p:nvPr>
            <p:ph type="body" idx="1"/>
          </p:nvPr>
        </p:nvSpPr>
        <p:spPr bwMode="auto">
          <a:noFill/>
        </p:spPr>
        <p:txBody>
          <a:bodyPr wrap="square" numCol="1" anchor="t" anchorCtr="0" compatLnSpc="1">
            <a:prstTxWarp prst="textNoShape">
              <a:avLst/>
            </a:prstTxWarp>
          </a:bodyPr>
          <a:lstStyle/>
          <a:p>
            <a:r>
              <a:rPr lang="en-US" dirty="0" smtClean="0">
                <a:ea typeface="ＭＳ Ｐゴシック" pitchFamily="-123" charset="-128"/>
                <a:cs typeface="ＭＳ Ｐゴシック" pitchFamily="-123" charset="-128"/>
              </a:rPr>
              <a:t>Brainstorming is a</a:t>
            </a:r>
            <a:r>
              <a:rPr lang="en-US" baseline="0" dirty="0" smtClean="0">
                <a:ea typeface="ＭＳ Ｐゴシック" pitchFamily="-123" charset="-128"/>
                <a:cs typeface="ＭＳ Ｐゴシック" pitchFamily="-123" charset="-128"/>
              </a:rPr>
              <a:t> very important flaring step!  The more flaring that is done here the greater the options for a truly innovative outcome</a:t>
            </a:r>
            <a:endParaRPr lang="en-US" dirty="0">
              <a:ea typeface="ＭＳ Ｐゴシック" pitchFamily="-123" charset="-128"/>
              <a:cs typeface="ＭＳ Ｐゴシック" pitchFamily="-123"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9457" name="Placeholder 2"/>
          <p:cNvSpPr>
            <a:spLocks noGrp="1" noRot="1" noChangeAspect="1"/>
          </p:cNvSpPr>
          <p:nvPr>
            <p:ph type="sldImg"/>
          </p:nvPr>
        </p:nvSpPr>
        <p:spPr bwMode="auto">
          <a:noFill/>
          <a:ln>
            <a:solidFill>
              <a:srgbClr val="000000"/>
            </a:solidFill>
            <a:miter lim="800000"/>
            <a:headEnd/>
            <a:tailEnd/>
          </a:ln>
        </p:spPr>
      </p:sp>
      <p:sp>
        <p:nvSpPr>
          <p:cNvPr id="19458" name="Placeholder 3"/>
          <p:cNvSpPr>
            <a:spLocks noGrp="1"/>
          </p:cNvSpPr>
          <p:nvPr>
            <p:ph type="body" idx="1"/>
          </p:nvPr>
        </p:nvSpPr>
        <p:spPr bwMode="auto">
          <a:noFill/>
        </p:spPr>
        <p:txBody>
          <a:bodyPr wrap="square" numCol="1" anchor="t" anchorCtr="0" compatLnSpc="1">
            <a:prstTxWarp prst="textNoShape">
              <a:avLst/>
            </a:prstTxWarp>
          </a:bodyPr>
          <a:lstStyle/>
          <a:p>
            <a:r>
              <a:rPr lang="en-US" dirty="0" smtClean="0">
                <a:ea typeface="ＭＳ Ｐゴシック" pitchFamily="-123" charset="-128"/>
                <a:cs typeface="ＭＳ Ｐゴシック" pitchFamily="-123" charset="-128"/>
              </a:rPr>
              <a:t>Brainstorming is a</a:t>
            </a:r>
            <a:r>
              <a:rPr lang="en-US" baseline="0" dirty="0" smtClean="0">
                <a:ea typeface="ＭＳ Ｐゴシック" pitchFamily="-123" charset="-128"/>
                <a:cs typeface="ＭＳ Ｐゴシック" pitchFamily="-123" charset="-128"/>
              </a:rPr>
              <a:t> very important flaring step!  The more flaring that is done here the greater the options for a truly innovative outcome</a:t>
            </a:r>
            <a:endParaRPr lang="en-US" dirty="0">
              <a:ea typeface="ＭＳ Ｐゴシック" pitchFamily="-123" charset="-128"/>
              <a:cs typeface="ＭＳ Ｐゴシック" pitchFamily="-123"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1505" name="Placeholder 2"/>
          <p:cNvSpPr>
            <a:spLocks noGrp="1" noRot="1" noChangeAspect="1"/>
          </p:cNvSpPr>
          <p:nvPr>
            <p:ph type="sldImg"/>
          </p:nvPr>
        </p:nvSpPr>
        <p:spPr bwMode="auto">
          <a:noFill/>
          <a:ln>
            <a:solidFill>
              <a:srgbClr val="000000"/>
            </a:solidFill>
            <a:miter lim="800000"/>
            <a:headEnd/>
            <a:tailEnd/>
          </a:ln>
        </p:spPr>
      </p:sp>
      <p:sp>
        <p:nvSpPr>
          <p:cNvPr id="21506" name="Placeholder 3"/>
          <p:cNvSpPr>
            <a:spLocks noGrp="1"/>
          </p:cNvSpPr>
          <p:nvPr>
            <p:ph type="body" idx="1"/>
          </p:nvPr>
        </p:nvSpPr>
        <p:spPr bwMode="auto">
          <a:noFill/>
        </p:spPr>
        <p:txBody>
          <a:bodyPr wrap="square" numCol="1" anchor="t" anchorCtr="0" compatLnSpc="1">
            <a:prstTxWarp prst="textNoShape">
              <a:avLst/>
            </a:prstTxWarp>
          </a:bodyPr>
          <a:lstStyle/>
          <a:p>
            <a:endParaRPr lang="en-US">
              <a:ea typeface="ＭＳ Ｐゴシック" pitchFamily="-123" charset="-128"/>
              <a:cs typeface="ＭＳ Ｐゴシック" pitchFamily="-123" charset="-128"/>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f students are new to brainstorming</a:t>
            </a:r>
            <a:r>
              <a:rPr lang="en-US" baseline="0" dirty="0" smtClean="0"/>
              <a:t> it can be good to go over each of these rules in depth.  As students become more experienced sometimes we just highlight the few that seem the most relevant to the group. (</a:t>
            </a:r>
            <a:r>
              <a:rPr lang="en-US" baseline="0" dirty="0" err="1" smtClean="0"/>
              <a:t>ie</a:t>
            </a:r>
            <a:r>
              <a:rPr lang="en-US" baseline="0" dirty="0" smtClean="0"/>
              <a:t>. Be visual, Defer </a:t>
            </a:r>
            <a:r>
              <a:rPr lang="en-US" baseline="0" dirty="0" err="1" smtClean="0"/>
              <a:t>Judgement</a:t>
            </a:r>
            <a:r>
              <a:rPr lang="en-US" baseline="0" dirty="0" smtClean="0"/>
              <a:t>, Go for wild ideas).</a:t>
            </a:r>
          </a:p>
          <a:p>
            <a:r>
              <a:rPr lang="en-US" baseline="0" dirty="0" smtClean="0"/>
              <a:t>Fun video to illustrate ideas </a:t>
            </a:r>
            <a:r>
              <a:rPr lang="en-US" dirty="0" smtClean="0">
                <a:hlinkClick r:id="rId3"/>
              </a:rPr>
              <a:t>http://www.vimeo.com/11508426</a:t>
            </a:r>
            <a:endParaRPr lang="en-US" dirty="0"/>
          </a:p>
        </p:txBody>
      </p:sp>
      <p:sp>
        <p:nvSpPr>
          <p:cNvPr id="4" name="Slide Number Placeholder 3"/>
          <p:cNvSpPr>
            <a:spLocks noGrp="1"/>
          </p:cNvSpPr>
          <p:nvPr>
            <p:ph type="sldNum" sz="quarter" idx="10"/>
          </p:nvPr>
        </p:nvSpPr>
        <p:spPr/>
        <p:txBody>
          <a:bodyPr/>
          <a:lstStyle/>
          <a:p>
            <a:pPr>
              <a:defRPr/>
            </a:pPr>
            <a:fld id="{826742B7-8864-496D-A0BC-FC343245389B}"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6081" name="Placeholder 2"/>
          <p:cNvSpPr>
            <a:spLocks noGrp="1" noRot="1" noChangeAspect="1"/>
          </p:cNvSpPr>
          <p:nvPr>
            <p:ph type="sldImg"/>
          </p:nvPr>
        </p:nvSpPr>
        <p:spPr bwMode="auto">
          <a:noFill/>
          <a:ln>
            <a:solidFill>
              <a:srgbClr val="000000"/>
            </a:solidFill>
            <a:miter lim="800000"/>
            <a:headEnd/>
            <a:tailEnd/>
          </a:ln>
        </p:spPr>
      </p:sp>
      <p:sp>
        <p:nvSpPr>
          <p:cNvPr id="46082" name="Placeholder 3"/>
          <p:cNvSpPr>
            <a:spLocks noGrp="1"/>
          </p:cNvSpPr>
          <p:nvPr>
            <p:ph type="body" idx="1"/>
          </p:nvPr>
        </p:nvSpPr>
        <p:spPr bwMode="auto">
          <a:noFill/>
        </p:spPr>
        <p:txBody>
          <a:bodyPr wrap="square" numCol="1" anchor="t" anchorCtr="0" compatLnSpc="1">
            <a:prstTxWarp prst="textNoShape">
              <a:avLst/>
            </a:prstTxWarp>
          </a:bodyPr>
          <a:lstStyle/>
          <a:p>
            <a:r>
              <a:rPr lang="en-US" dirty="0" smtClean="0">
                <a:ea typeface="ＭＳ Ｐゴシック" pitchFamily="-123" charset="-128"/>
                <a:cs typeface="ＭＳ Ｐゴシック" pitchFamily="-123" charset="-128"/>
              </a:rPr>
              <a:t>A stoke activity is something that raises the energy of</a:t>
            </a:r>
            <a:r>
              <a:rPr lang="en-US" baseline="0" dirty="0" smtClean="0">
                <a:ea typeface="ＭＳ Ｐゴシック" pitchFamily="-123" charset="-128"/>
                <a:cs typeface="ＭＳ Ｐゴシック" pitchFamily="-123" charset="-128"/>
              </a:rPr>
              <a:t> the group.  In this case we are using “Rock, Paper, Scissors Wars” to get the energy of the group high before they go into the brainstorming session.</a:t>
            </a:r>
          </a:p>
          <a:p>
            <a:r>
              <a:rPr lang="en-US" baseline="0" dirty="0" smtClean="0">
                <a:ea typeface="ＭＳ Ｐゴシック" pitchFamily="-123" charset="-128"/>
                <a:cs typeface="ＭＳ Ｐゴシック" pitchFamily="-123" charset="-128"/>
              </a:rPr>
              <a:t>Through out the brainstorming session be sure to walk around to the different groups to make sure that their energy is high.  If energy starts to flag in one group think about giving a prompt such as “now come up with ideas that will cost over 1 million dollars.”  Once it seems that energy around a specific idea is running out it may be time to move on to a new “How Might We”</a:t>
            </a:r>
            <a:endParaRPr lang="en-US" dirty="0">
              <a:ea typeface="ＭＳ Ｐゴシック" pitchFamily="-123" charset="-128"/>
              <a:cs typeface="ＭＳ Ｐゴシック" pitchFamily="-123" charset="-128"/>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8129" name="Placeholder 2"/>
          <p:cNvSpPr>
            <a:spLocks noGrp="1" noRot="1" noChangeAspect="1"/>
          </p:cNvSpPr>
          <p:nvPr>
            <p:ph type="sldImg"/>
          </p:nvPr>
        </p:nvSpPr>
        <p:spPr bwMode="auto">
          <a:noFill/>
          <a:ln>
            <a:solidFill>
              <a:srgbClr val="000000"/>
            </a:solidFill>
            <a:miter lim="800000"/>
            <a:headEnd/>
            <a:tailEnd/>
          </a:ln>
        </p:spPr>
      </p:sp>
      <p:sp>
        <p:nvSpPr>
          <p:cNvPr id="48130" name="Placeholder 3"/>
          <p:cNvSpPr>
            <a:spLocks noGrp="1"/>
          </p:cNvSpPr>
          <p:nvPr>
            <p:ph type="body" idx="1"/>
          </p:nvPr>
        </p:nvSpPr>
        <p:spPr bwMode="auto">
          <a:noFill/>
        </p:spPr>
        <p:txBody>
          <a:bodyPr wrap="square" numCol="1" anchor="t" anchorCtr="0" compatLnSpc="1">
            <a:prstTxWarp prst="textNoShape">
              <a:avLst/>
            </a:prstTxWarp>
          </a:bodyPr>
          <a:lstStyle/>
          <a:p>
            <a:endParaRPr lang="en-US">
              <a:ea typeface="ＭＳ Ｐゴシック" pitchFamily="-123" charset="-128"/>
              <a:cs typeface="ＭＳ Ｐゴシック" pitchFamily="-123"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3"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p:txBody>
          <a:bodyPr/>
          <a:lstStyle>
            <a:lvl1pPr>
              <a:defRPr/>
            </a:lvl1pPr>
          </a:lstStyle>
          <a:p>
            <a:pPr>
              <a:defRPr/>
            </a:pPr>
            <a:fld id="{4EF4D156-8F93-4940-8E3E-A61590CAF32B}"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Slide Number Placeholder 5"/>
          <p:cNvSpPr>
            <a:spLocks noGrp="1"/>
          </p:cNvSpPr>
          <p:nvPr>
            <p:ph type="sldNum" sz="quarter" idx="10"/>
          </p:nvPr>
        </p:nvSpPr>
        <p:spPr/>
        <p:txBody>
          <a:bodyPr/>
          <a:lstStyle>
            <a:lvl1pPr>
              <a:defRPr/>
            </a:lvl1pPr>
          </a:lstStyle>
          <a:p>
            <a:pPr>
              <a:defRPr/>
            </a:pPr>
            <a:fld id="{68E84F69-1D15-48C0-867A-E64CD8B6D09F}"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AA80F2B2-0527-4EDE-B1AC-DCED70E47C14}"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Mindmap">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A607B8F6-1BEB-4A64-98F4-947D4B73F534}"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type="blank" preserve="1">
  <p:cSld name="Focus &amp; Flare">
    <p:spTree>
      <p:nvGrpSpPr>
        <p:cNvPr id="1" name=""/>
        <p:cNvGrpSpPr/>
        <p:nvPr/>
      </p:nvGrpSpPr>
      <p:grpSpPr>
        <a:xfrm>
          <a:off x="0" y="0"/>
          <a:ext cx="0" cy="0"/>
          <a:chOff x="0" y="0"/>
          <a:chExt cx="0" cy="0"/>
        </a:xfrm>
      </p:grpSpPr>
      <p:pic>
        <p:nvPicPr>
          <p:cNvPr id="2" name="Picture 6" descr="d.school_hassoinst.jpg"/>
          <p:cNvPicPr>
            <a:picLocks noChangeAspect="1"/>
          </p:cNvPicPr>
          <p:nvPr/>
        </p:nvPicPr>
        <p:blipFill>
          <a:blip r:embed="rId2"/>
          <a:srcRect/>
          <a:stretch>
            <a:fillRect/>
          </a:stretch>
        </p:blipFill>
        <p:spPr bwMode="auto">
          <a:xfrm>
            <a:off x="7258050" y="6165850"/>
            <a:ext cx="1428750" cy="555625"/>
          </a:xfrm>
          <a:prstGeom prst="rect">
            <a:avLst/>
          </a:prstGeom>
          <a:noFill/>
          <a:ln w="9525">
            <a:noFill/>
            <a:miter lim="800000"/>
            <a:headEnd/>
            <a:tailEnd/>
          </a:ln>
        </p:spPr>
      </p:pic>
      <p:pic>
        <p:nvPicPr>
          <p:cNvPr id="3" name="Picture 6"/>
          <p:cNvPicPr>
            <a:picLocks noChangeAspect="1" noChangeArrowheads="1"/>
          </p:cNvPicPr>
          <p:nvPr userDrawn="1"/>
        </p:nvPicPr>
        <p:blipFill>
          <a:blip r:embed="rId3"/>
          <a:srcRect l="1602" r="2271"/>
          <a:stretch>
            <a:fillRect/>
          </a:stretch>
        </p:blipFill>
        <p:spPr bwMode="auto">
          <a:xfrm>
            <a:off x="0" y="349250"/>
            <a:ext cx="9144000" cy="5441950"/>
          </a:xfrm>
          <a:prstGeom prst="rect">
            <a:avLst/>
          </a:prstGeom>
          <a:noFill/>
          <a:ln w="12700">
            <a:noFill/>
            <a:miter lim="800000"/>
            <a:headEnd/>
            <a:tailEnd/>
          </a:ln>
        </p:spPr>
      </p:pic>
      <p:sp>
        <p:nvSpPr>
          <p:cNvPr id="4" name="Slide Number Placeholder 5"/>
          <p:cNvSpPr>
            <a:spLocks noGrp="1"/>
          </p:cNvSpPr>
          <p:nvPr>
            <p:ph type="sldNum" sz="quarter" idx="10"/>
          </p:nvPr>
        </p:nvSpPr>
        <p:spPr/>
        <p:txBody>
          <a:bodyPr/>
          <a:lstStyle>
            <a:lvl1pPr algn="ctr">
              <a:defRPr sz="1200">
                <a:solidFill>
                  <a:srgbClr val="7F7F7F"/>
                </a:solidFill>
                <a:latin typeface="Neutra Text"/>
              </a:defRPr>
            </a:lvl1pPr>
          </a:lstStyle>
          <a:p>
            <a:pPr>
              <a:defRPr/>
            </a:pPr>
            <a:fld id="{1FED6CE4-B69B-4357-BADC-4D452A436DFD}"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p:txBody>
          <a:bodyPr/>
          <a:lstStyle>
            <a:lvl1pPr>
              <a:defRPr/>
            </a:lvl1pPr>
          </a:lstStyle>
          <a:p>
            <a:pPr>
              <a:defRPr/>
            </a:pPr>
            <a:fld id="{3F91A6B2-F5F2-4726-8229-B94BC787EBFE}"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p:txBody>
          <a:bodyPr/>
          <a:lstStyle>
            <a:lvl1pPr>
              <a:defRPr/>
            </a:lvl1pPr>
          </a:lstStyle>
          <a:p>
            <a:pPr>
              <a:defRPr/>
            </a:pPr>
            <a:fld id="{47A6C808-2559-41CB-864A-7A9F533FA47B}"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261100"/>
            <a:ext cx="2133600" cy="365125"/>
          </a:xfrm>
          <a:prstGeom prst="rect">
            <a:avLst/>
          </a:prstGeom>
        </p:spPr>
        <p:txBody>
          <a:bodyPr/>
          <a:lstStyle>
            <a:lvl1pPr>
              <a:defRPr>
                <a:latin typeface="Arial" charset="0"/>
                <a:ea typeface="ＭＳ Ｐゴシック" charset="-128"/>
                <a:cs typeface="ＭＳ Ｐゴシック" charset="-128"/>
              </a:defRPr>
            </a:lvl1pPr>
          </a:lstStyle>
          <a:p>
            <a:pPr>
              <a:defRPr/>
            </a:pPr>
            <a:r>
              <a:rPr lang="en-US"/>
              <a:t>Customer Focused Innovation</a:t>
            </a:r>
          </a:p>
          <a:p>
            <a:pPr>
              <a:defRPr/>
            </a:pPr>
            <a:r>
              <a:rPr lang="en-US"/>
              <a:t>November 8 – 13 2009</a:t>
            </a:r>
          </a:p>
        </p:txBody>
      </p:sp>
      <p:sp>
        <p:nvSpPr>
          <p:cNvPr id="5" name="Slide Number Placeholder 4"/>
          <p:cNvSpPr>
            <a:spLocks noGrp="1"/>
          </p:cNvSpPr>
          <p:nvPr>
            <p:ph type="sldNum" sz="quarter" idx="11"/>
          </p:nvPr>
        </p:nvSpPr>
        <p:spPr/>
        <p:txBody>
          <a:bodyPr/>
          <a:lstStyle>
            <a:lvl1pPr>
              <a:defRPr/>
            </a:lvl1pPr>
          </a:lstStyle>
          <a:p>
            <a:pPr>
              <a:defRPr/>
            </a:pPr>
            <a:fld id="{B3E27BDB-CD5C-44DB-92F9-C420BB4A8BC4}"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4" Type="http://schemas.openxmlformats.org/officeDocument/2006/relationships/slideLayout" Target="../slideLayouts/slideLayout4.xml"/><Relationship Id="rId10" Type="http://schemas.openxmlformats.org/officeDocument/2006/relationships/image" Target="../media/image1.png"/><Relationship Id="rId5" Type="http://schemas.openxmlformats.org/officeDocument/2006/relationships/slideLayout" Target="../slideLayouts/slideLayout5.xml"/><Relationship Id="rId7" Type="http://schemas.openxmlformats.org/officeDocument/2006/relationships/slideLayout" Target="../slideLayouts/slideLayout7.xml"/><Relationship Id="rId1" Type="http://schemas.openxmlformats.org/officeDocument/2006/relationships/slideLayout" Target="../slideLayouts/slideLayout1.xml"/><Relationship Id="rId2" Type="http://schemas.openxmlformats.org/officeDocument/2006/relationships/slideLayout" Target="../slideLayouts/slideLayout2.xml"/><Relationship Id="rId9" Type="http://schemas.openxmlformats.org/officeDocument/2006/relationships/theme" Target="../theme/theme1.xml"/><Relationship Id="rId3" Type="http://schemas.openxmlformats.org/officeDocument/2006/relationships/slideLayout" Target="../slideLayouts/slideLayout3.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3505200" y="6261100"/>
            <a:ext cx="2133600" cy="365125"/>
          </a:xfrm>
          <a:prstGeom prst="rect">
            <a:avLst/>
          </a:prstGeom>
        </p:spPr>
        <p:txBody>
          <a:bodyPr vert="horz" lIns="91440" tIns="45720" rIns="91440" bIns="45720" rtlCol="0" anchor="ctr"/>
          <a:lstStyle>
            <a:lvl1pPr algn="ctr" fontAlgn="auto">
              <a:spcBef>
                <a:spcPts val="0"/>
              </a:spcBef>
              <a:spcAft>
                <a:spcPts val="0"/>
              </a:spcAft>
              <a:defRPr sz="1200">
                <a:solidFill>
                  <a:srgbClr val="7F7F7F"/>
                </a:solidFill>
                <a:latin typeface="Neutra Text"/>
                <a:ea typeface="+mn-ea"/>
                <a:cs typeface="+mn-cs"/>
              </a:defRPr>
            </a:lvl1pPr>
          </a:lstStyle>
          <a:p>
            <a:pPr>
              <a:defRPr/>
            </a:pPr>
            <a:fld id="{D6735CF4-6335-48EA-BBF7-66CDF838CBB4}" type="slidenum">
              <a:rPr lang="en-US"/>
              <a:pPr>
                <a:defRPr/>
              </a:pPr>
              <a:t>‹#›</a:t>
            </a:fld>
            <a:endParaRPr lang="en-US" dirty="0"/>
          </a:p>
        </p:txBody>
      </p:sp>
      <p:pic>
        <p:nvPicPr>
          <p:cNvPr id="8" name="Picture 7" descr="K12_130x70px_051009.png"/>
          <p:cNvPicPr>
            <a:picLocks noChangeAspect="1"/>
          </p:cNvPicPr>
          <p:nvPr userDrawn="1"/>
        </p:nvPicPr>
        <p:blipFill>
          <a:blip r:embed="rId10"/>
          <a:stretch>
            <a:fillRect/>
          </a:stretch>
        </p:blipFill>
        <p:spPr>
          <a:xfrm>
            <a:off x="7696200" y="6186488"/>
            <a:ext cx="990600" cy="533400"/>
          </a:xfrm>
          <a:prstGeom prst="rect">
            <a:avLst/>
          </a:prstGeom>
        </p:spPr>
      </p:pic>
    </p:spTree>
  </p:cSld>
  <p:clrMap bg1="lt1" tx1="dk1" bg2="lt2" tx2="dk2" accent1="accent1" accent2="accent2" accent3="accent3" accent4="accent4" accent5="accent5" accent6="accent6" hlink="hlink" folHlink="folHlink"/>
  <p:sldLayoutIdLst>
    <p:sldLayoutId id="2147483668" r:id="rId1"/>
    <p:sldLayoutId id="2147483667" r:id="rId2"/>
    <p:sldLayoutId id="2147483666" r:id="rId3"/>
    <p:sldLayoutId id="2147483665" r:id="rId4"/>
    <p:sldLayoutId id="2147483669" r:id="rId5"/>
    <p:sldLayoutId id="2147483664" r:id="rId6"/>
    <p:sldLayoutId id="2147483663" r:id="rId7"/>
    <p:sldLayoutId id="2147483670" r:id="rId8"/>
  </p:sldLayoutIdLst>
  <p:hf hdr="0" ftr="0"/>
  <p:txStyles>
    <p:titleStyle>
      <a:lvl1pPr algn="ctr" defTabSz="457200" rtl="0" eaLnBrk="0" fontAlgn="base" hangingPunct="0">
        <a:spcBef>
          <a:spcPct val="0"/>
        </a:spcBef>
        <a:spcAft>
          <a:spcPct val="0"/>
        </a:spcAft>
        <a:defRPr sz="4400" kern="1200">
          <a:solidFill>
            <a:schemeClr val="tx1"/>
          </a:solidFill>
          <a:latin typeface="Helvetica"/>
          <a:ea typeface="ＭＳ Ｐゴシック" charset="-128"/>
          <a:cs typeface="ＭＳ Ｐゴシック" pitchFamily="-123" charset="-128"/>
        </a:defRPr>
      </a:lvl1pPr>
      <a:lvl2pPr algn="ctr" defTabSz="457200" rtl="0" eaLnBrk="0" fontAlgn="base" hangingPunct="0">
        <a:spcBef>
          <a:spcPct val="0"/>
        </a:spcBef>
        <a:spcAft>
          <a:spcPct val="0"/>
        </a:spcAft>
        <a:defRPr sz="4400">
          <a:solidFill>
            <a:schemeClr val="tx1"/>
          </a:solidFill>
          <a:latin typeface="Helvetica" pitchFamily="-123" charset="0"/>
          <a:ea typeface="ＭＳ Ｐゴシック" charset="-128"/>
          <a:cs typeface="ＭＳ Ｐゴシック" charset="-128"/>
        </a:defRPr>
      </a:lvl2pPr>
      <a:lvl3pPr algn="ctr" defTabSz="457200" rtl="0" eaLnBrk="0" fontAlgn="base" hangingPunct="0">
        <a:spcBef>
          <a:spcPct val="0"/>
        </a:spcBef>
        <a:spcAft>
          <a:spcPct val="0"/>
        </a:spcAft>
        <a:defRPr sz="4400">
          <a:solidFill>
            <a:schemeClr val="tx1"/>
          </a:solidFill>
          <a:latin typeface="Helvetica" pitchFamily="-123" charset="0"/>
          <a:ea typeface="ＭＳ Ｐゴシック" charset="-128"/>
          <a:cs typeface="ＭＳ Ｐゴシック" charset="-128"/>
        </a:defRPr>
      </a:lvl3pPr>
      <a:lvl4pPr algn="ctr" defTabSz="457200" rtl="0" eaLnBrk="0" fontAlgn="base" hangingPunct="0">
        <a:spcBef>
          <a:spcPct val="0"/>
        </a:spcBef>
        <a:spcAft>
          <a:spcPct val="0"/>
        </a:spcAft>
        <a:defRPr sz="4400">
          <a:solidFill>
            <a:schemeClr val="tx1"/>
          </a:solidFill>
          <a:latin typeface="Helvetica" pitchFamily="-123" charset="0"/>
          <a:ea typeface="ＭＳ Ｐゴシック" charset="-128"/>
          <a:cs typeface="ＭＳ Ｐゴシック" charset="-128"/>
        </a:defRPr>
      </a:lvl4pPr>
      <a:lvl5pPr algn="ctr" defTabSz="457200" rtl="0" eaLnBrk="0" fontAlgn="base" hangingPunct="0">
        <a:spcBef>
          <a:spcPct val="0"/>
        </a:spcBef>
        <a:spcAft>
          <a:spcPct val="0"/>
        </a:spcAft>
        <a:defRPr sz="4400">
          <a:solidFill>
            <a:schemeClr val="tx1"/>
          </a:solidFill>
          <a:latin typeface="Helvetica" pitchFamily="-123" charset="0"/>
          <a:ea typeface="ＭＳ Ｐゴシック" charset="-128"/>
          <a:cs typeface="ＭＳ Ｐゴシック" charset="-128"/>
        </a:defRPr>
      </a:lvl5pPr>
      <a:lvl6pPr marL="457200" algn="ctr" defTabSz="457200" rtl="0" fontAlgn="base">
        <a:spcBef>
          <a:spcPct val="0"/>
        </a:spcBef>
        <a:spcAft>
          <a:spcPct val="0"/>
        </a:spcAft>
        <a:defRPr sz="4400">
          <a:solidFill>
            <a:schemeClr val="tx1"/>
          </a:solidFill>
          <a:latin typeface="Neutra Text" charset="0"/>
          <a:ea typeface="ＭＳ Ｐゴシック" charset="-128"/>
          <a:cs typeface="ＭＳ Ｐゴシック" charset="-128"/>
        </a:defRPr>
      </a:lvl6pPr>
      <a:lvl7pPr marL="914400" algn="ctr" defTabSz="457200" rtl="0" fontAlgn="base">
        <a:spcBef>
          <a:spcPct val="0"/>
        </a:spcBef>
        <a:spcAft>
          <a:spcPct val="0"/>
        </a:spcAft>
        <a:defRPr sz="4400">
          <a:solidFill>
            <a:schemeClr val="tx1"/>
          </a:solidFill>
          <a:latin typeface="Neutra Text" charset="0"/>
          <a:ea typeface="ＭＳ Ｐゴシック" charset="-128"/>
          <a:cs typeface="ＭＳ Ｐゴシック" charset="-128"/>
        </a:defRPr>
      </a:lvl7pPr>
      <a:lvl8pPr marL="1371600" algn="ctr" defTabSz="457200" rtl="0" fontAlgn="base">
        <a:spcBef>
          <a:spcPct val="0"/>
        </a:spcBef>
        <a:spcAft>
          <a:spcPct val="0"/>
        </a:spcAft>
        <a:defRPr sz="4400">
          <a:solidFill>
            <a:schemeClr val="tx1"/>
          </a:solidFill>
          <a:latin typeface="Neutra Text" charset="0"/>
          <a:ea typeface="ＭＳ Ｐゴシック" charset="-128"/>
          <a:cs typeface="ＭＳ Ｐゴシック" charset="-128"/>
        </a:defRPr>
      </a:lvl8pPr>
      <a:lvl9pPr marL="1828800" algn="ctr" defTabSz="457200" rtl="0" fontAlgn="base">
        <a:spcBef>
          <a:spcPct val="0"/>
        </a:spcBef>
        <a:spcAft>
          <a:spcPct val="0"/>
        </a:spcAft>
        <a:defRPr sz="4400">
          <a:solidFill>
            <a:schemeClr val="tx1"/>
          </a:solidFill>
          <a:latin typeface="Neutra Text" charset="0"/>
          <a:ea typeface="ＭＳ Ｐゴシック" charset="-128"/>
          <a:cs typeface="ＭＳ Ｐゴシック" charset="-128"/>
        </a:defRPr>
      </a:lvl9pPr>
    </p:titleStyle>
    <p:bodyStyle>
      <a:lvl1pPr marL="342900" indent="-342900" algn="l" defTabSz="457200" rtl="0" eaLnBrk="0" fontAlgn="base" hangingPunct="0">
        <a:spcBef>
          <a:spcPct val="20000"/>
        </a:spcBef>
        <a:spcAft>
          <a:spcPct val="0"/>
        </a:spcAft>
        <a:buFont typeface="Arial" pitchFamily="-123" charset="0"/>
        <a:buChar char="•"/>
        <a:defRPr sz="3200" kern="1200">
          <a:solidFill>
            <a:schemeClr val="tx1"/>
          </a:solidFill>
          <a:latin typeface="Helvetica"/>
          <a:ea typeface="ＭＳ Ｐゴシック" charset="-128"/>
          <a:cs typeface="ＭＳ Ｐゴシック" pitchFamily="-123" charset="-128"/>
        </a:defRPr>
      </a:lvl1pPr>
      <a:lvl2pPr marL="742950" indent="-285750" algn="l" defTabSz="457200" rtl="0" eaLnBrk="0" fontAlgn="base" hangingPunct="0">
        <a:spcBef>
          <a:spcPct val="20000"/>
        </a:spcBef>
        <a:spcAft>
          <a:spcPct val="0"/>
        </a:spcAft>
        <a:buFont typeface="Arial" pitchFamily="-123" charset="0"/>
        <a:buChar char="–"/>
        <a:defRPr sz="2800" kern="1200">
          <a:solidFill>
            <a:schemeClr val="tx1"/>
          </a:solidFill>
          <a:latin typeface="Helvetica"/>
          <a:ea typeface="ＭＳ Ｐゴシック" charset="-128"/>
          <a:cs typeface="ＭＳ Ｐゴシック" pitchFamily="-123" charset="-128"/>
        </a:defRPr>
      </a:lvl2pPr>
      <a:lvl3pPr marL="1143000" indent="-228600" algn="l" defTabSz="457200" rtl="0" eaLnBrk="0" fontAlgn="base" hangingPunct="0">
        <a:spcBef>
          <a:spcPct val="20000"/>
        </a:spcBef>
        <a:spcAft>
          <a:spcPct val="0"/>
        </a:spcAft>
        <a:buFont typeface="Arial" pitchFamily="-123" charset="0"/>
        <a:buChar char="•"/>
        <a:defRPr sz="2400" kern="1200">
          <a:solidFill>
            <a:schemeClr val="tx1"/>
          </a:solidFill>
          <a:latin typeface="Helvetica"/>
          <a:ea typeface="ＭＳ Ｐゴシック" charset="-128"/>
          <a:cs typeface="ＭＳ Ｐゴシック" pitchFamily="-123" charset="-128"/>
        </a:defRPr>
      </a:lvl3pPr>
      <a:lvl4pPr marL="1600200" indent="-228600" algn="l" defTabSz="457200" rtl="0" eaLnBrk="0" fontAlgn="base" hangingPunct="0">
        <a:spcBef>
          <a:spcPct val="20000"/>
        </a:spcBef>
        <a:spcAft>
          <a:spcPct val="0"/>
        </a:spcAft>
        <a:buFont typeface="Arial" pitchFamily="-123" charset="0"/>
        <a:buChar char="–"/>
        <a:defRPr sz="2000" kern="1200">
          <a:solidFill>
            <a:schemeClr val="tx1"/>
          </a:solidFill>
          <a:latin typeface="Helvetica"/>
          <a:ea typeface="ＭＳ Ｐゴシック" charset="-128"/>
          <a:cs typeface="ＭＳ Ｐゴシック" pitchFamily="-123" charset="-128"/>
        </a:defRPr>
      </a:lvl4pPr>
      <a:lvl5pPr marL="2057400" indent="-228600" algn="l" defTabSz="457200" rtl="0" eaLnBrk="0" fontAlgn="base" hangingPunct="0">
        <a:spcBef>
          <a:spcPct val="20000"/>
        </a:spcBef>
        <a:spcAft>
          <a:spcPct val="0"/>
        </a:spcAft>
        <a:buFont typeface="Arial" pitchFamily="-123" charset="0"/>
        <a:buChar char="»"/>
        <a:defRPr sz="2000" kern="1200">
          <a:solidFill>
            <a:schemeClr val="tx1"/>
          </a:solidFill>
          <a:latin typeface="Helvetica"/>
          <a:ea typeface="ＭＳ Ｐゴシック" charset="-128"/>
          <a:cs typeface="ＭＳ Ｐゴシック" pitchFamily="-123"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4" Type="http://schemas.openxmlformats.org/officeDocument/2006/relationships/image" Target="../media/image5.png"/><Relationship Id="rId1" Type="http://schemas.openxmlformats.org/officeDocument/2006/relationships/slideLayout" Target="../slideLayouts/slideLayout4.xml"/><Relationship Id="rId2" Type="http://schemas.openxmlformats.org/officeDocument/2006/relationships/notesSlide" Target="../notesSlides/notesSlide1.xml"/><Relationship Id="rId3" Type="http://schemas.openxmlformats.org/officeDocument/2006/relationships/image" Target="../media/image4.jpeg"/></Relationships>
</file>

<file path=ppt/slides/_rels/slide10.xml.rels><?xml version="1.0" encoding="UTF-8" standalone="yes"?>
<Relationships xmlns="http://schemas.openxmlformats.org/package/2006/relationships"><Relationship Id="rId14" Type="http://schemas.openxmlformats.org/officeDocument/2006/relationships/notesSlide" Target="../notesSlides/notesSlide10.xml"/><Relationship Id="rId4" Type="http://schemas.openxmlformats.org/officeDocument/2006/relationships/tags" Target="../tags/tag4.xml"/><Relationship Id="rId7" Type="http://schemas.openxmlformats.org/officeDocument/2006/relationships/tags" Target="../tags/tag7.xml"/><Relationship Id="rId11" Type="http://schemas.openxmlformats.org/officeDocument/2006/relationships/tags" Target="../tags/tag11.xml"/><Relationship Id="rId1" Type="http://schemas.openxmlformats.org/officeDocument/2006/relationships/tags" Target="../tags/tag1.xml"/><Relationship Id="rId6" Type="http://schemas.openxmlformats.org/officeDocument/2006/relationships/tags" Target="../tags/tag6.xml"/><Relationship Id="rId8" Type="http://schemas.openxmlformats.org/officeDocument/2006/relationships/tags" Target="../tags/tag8.xml"/><Relationship Id="rId13" Type="http://schemas.openxmlformats.org/officeDocument/2006/relationships/slideLayout" Target="../slideLayouts/slideLayout4.xml"/><Relationship Id="rId10" Type="http://schemas.openxmlformats.org/officeDocument/2006/relationships/tags" Target="../tags/tag10.xml"/><Relationship Id="rId5" Type="http://schemas.openxmlformats.org/officeDocument/2006/relationships/tags" Target="../tags/tag5.xml"/><Relationship Id="rId12" Type="http://schemas.openxmlformats.org/officeDocument/2006/relationships/tags" Target="../tags/tag12.xml"/><Relationship Id="rId2" Type="http://schemas.openxmlformats.org/officeDocument/2006/relationships/tags" Target="../tags/tag2.xml"/><Relationship Id="rId9" Type="http://schemas.openxmlformats.org/officeDocument/2006/relationships/tags" Target="../tags/tag9.xml"/><Relationship Id="rId3" Type="http://schemas.openxmlformats.org/officeDocument/2006/relationships/tags" Target="../tags/tag3.xml"/></Relationships>
</file>

<file path=ppt/slides/_rels/slide11.xml.rels><?xml version="1.0" encoding="UTF-8" standalone="yes"?>
<Relationships xmlns="http://schemas.openxmlformats.org/package/2006/relationships"><Relationship Id="rId8" Type="http://schemas.openxmlformats.org/officeDocument/2006/relationships/tags" Target="../tags/tag20.xml"/><Relationship Id="rId4" Type="http://schemas.openxmlformats.org/officeDocument/2006/relationships/tags" Target="../tags/tag16.xml"/><Relationship Id="rId10" Type="http://schemas.openxmlformats.org/officeDocument/2006/relationships/tags" Target="../tags/tag22.xml"/><Relationship Id="rId5" Type="http://schemas.openxmlformats.org/officeDocument/2006/relationships/tags" Target="../tags/tag17.xml"/><Relationship Id="rId7" Type="http://schemas.openxmlformats.org/officeDocument/2006/relationships/tags" Target="../tags/tag19.xml"/><Relationship Id="rId11" Type="http://schemas.openxmlformats.org/officeDocument/2006/relationships/slideLayout" Target="../slideLayouts/slideLayout4.xml"/><Relationship Id="rId12" Type="http://schemas.openxmlformats.org/officeDocument/2006/relationships/notesSlide" Target="../notesSlides/notesSlide11.xml"/><Relationship Id="rId1" Type="http://schemas.openxmlformats.org/officeDocument/2006/relationships/tags" Target="../tags/tag13.xml"/><Relationship Id="rId2" Type="http://schemas.openxmlformats.org/officeDocument/2006/relationships/tags" Target="../tags/tag14.xml"/><Relationship Id="rId9" Type="http://schemas.openxmlformats.org/officeDocument/2006/relationships/tags" Target="../tags/tag21.xml"/><Relationship Id="rId3" Type="http://schemas.openxmlformats.org/officeDocument/2006/relationships/tags" Target="../tags/tag15.xml"/><Relationship Id="rId6" Type="http://schemas.openxmlformats.org/officeDocument/2006/relationships/tags" Target="../tags/tag18.xml"/></Relationships>
</file>

<file path=ppt/slides/_rels/slide12.xml.rels><?xml version="1.0" encoding="UTF-8" standalone="yes"?>
<Relationships xmlns="http://schemas.openxmlformats.org/package/2006/relationships"><Relationship Id="rId4" Type="http://schemas.openxmlformats.org/officeDocument/2006/relationships/tags" Target="../tags/tag26.xml"/><Relationship Id="rId5" Type="http://schemas.openxmlformats.org/officeDocument/2006/relationships/tags" Target="../tags/tag27.xml"/><Relationship Id="rId7" Type="http://schemas.openxmlformats.org/officeDocument/2006/relationships/notesSlide" Target="../notesSlides/notesSlide12.xml"/><Relationship Id="rId1" Type="http://schemas.openxmlformats.org/officeDocument/2006/relationships/tags" Target="../tags/tag23.xml"/><Relationship Id="rId2" Type="http://schemas.openxmlformats.org/officeDocument/2006/relationships/tags" Target="../tags/tag24.xml"/><Relationship Id="rId3" Type="http://schemas.openxmlformats.org/officeDocument/2006/relationships/tags" Target="../tags/tag25.xml"/><Relationship Id="rId6"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4" Type="http://schemas.openxmlformats.org/officeDocument/2006/relationships/image" Target="../media/image7.png"/><Relationship Id="rId1" Type="http://schemas.openxmlformats.org/officeDocument/2006/relationships/slideLayout" Target="../slideLayouts/slideLayout4.xml"/><Relationship Id="rId2" Type="http://schemas.openxmlformats.org/officeDocument/2006/relationships/notesSlide" Target="../notesSlides/notesSlide2.xml"/><Relationship Id="rId3" Type="http://schemas.openxmlformats.org/officeDocument/2006/relationships/image" Target="../media/image6.pdf"/></Relationships>
</file>

<file path=ppt/slides/_rels/slide3.xml.rels><?xml version="1.0" encoding="UTF-8" standalone="yes"?>
<Relationships xmlns="http://schemas.openxmlformats.org/package/2006/relationships"><Relationship Id="rId4" Type="http://schemas.openxmlformats.org/officeDocument/2006/relationships/image" Target="../media/image9.png"/><Relationship Id="rId1" Type="http://schemas.openxmlformats.org/officeDocument/2006/relationships/slideLayout" Target="../slideLayouts/slideLayout4.xml"/><Relationship Id="rId2" Type="http://schemas.openxmlformats.org/officeDocument/2006/relationships/notesSlide" Target="../notesSlides/notesSlide3.xml"/><Relationship Id="rId3" Type="http://schemas.openxmlformats.org/officeDocument/2006/relationships/image" Target="../media/image8.pdf"/></Relationships>
</file>

<file path=ppt/slides/_rels/slide4.xml.rels><?xml version="1.0" encoding="UTF-8" standalone="yes"?>
<Relationships xmlns="http://schemas.openxmlformats.org/package/2006/relationships"><Relationship Id="rId4" Type="http://schemas.openxmlformats.org/officeDocument/2006/relationships/image" Target="../media/image10.jpeg"/><Relationship Id="rId1" Type="http://schemas.openxmlformats.org/officeDocument/2006/relationships/slideLayout" Target="../slideLayouts/slideLayout4.xml"/><Relationship Id="rId2" Type="http://schemas.openxmlformats.org/officeDocument/2006/relationships/notesSlide" Target="../notesSlides/notesSlide4.xml"/><Relationship Id="rId3" Type="http://schemas.openxmlformats.org/officeDocument/2006/relationships/image" Target="../media/image3.jpeg"/></Relationships>
</file>

<file path=ppt/slides/_rels/slide5.xml.rels><?xml version="1.0" encoding="UTF-8" standalone="yes"?>
<Relationships xmlns="http://schemas.openxmlformats.org/package/2006/relationships"><Relationship Id="rId4" Type="http://schemas.openxmlformats.org/officeDocument/2006/relationships/image" Target="../media/image11.jpeg"/><Relationship Id="rId1" Type="http://schemas.openxmlformats.org/officeDocument/2006/relationships/slideLayout" Target="../slideLayouts/slideLayout4.xml"/><Relationship Id="rId2" Type="http://schemas.openxmlformats.org/officeDocument/2006/relationships/notesSlide" Target="../notesSlides/notesSlide5.xml"/><Relationship Id="rId3" Type="http://schemas.openxmlformats.org/officeDocument/2006/relationships/image" Target="../media/image10.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3" Type="http://schemas.openxmlformats.org/officeDocument/2006/relationships/image" Target="../media/image12.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3" Type="http://schemas.openxmlformats.org/officeDocument/2006/relationships/image" Target="../media/image13.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3" Type="http://schemas.openxmlformats.org/officeDocument/2006/relationships/image" Target="../media/image4.jpe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2289" name="Picture 7" descr="dschool mindmap.jpg"/>
          <p:cNvPicPr>
            <a:picLocks noChangeAspect="1"/>
          </p:cNvPicPr>
          <p:nvPr/>
        </p:nvPicPr>
        <p:blipFill>
          <a:blip r:embed="rId3"/>
          <a:srcRect l="3754" r="6146"/>
          <a:stretch>
            <a:fillRect/>
          </a:stretch>
        </p:blipFill>
        <p:spPr bwMode="auto">
          <a:xfrm>
            <a:off x="0" y="-76200"/>
            <a:ext cx="9144000" cy="6159500"/>
          </a:xfrm>
          <a:prstGeom prst="rect">
            <a:avLst/>
          </a:prstGeom>
          <a:noFill/>
          <a:ln w="9525">
            <a:noFill/>
            <a:miter lim="800000"/>
            <a:headEnd/>
            <a:tailEnd/>
          </a:ln>
        </p:spPr>
      </p:pic>
      <p:grpSp>
        <p:nvGrpSpPr>
          <p:cNvPr id="3" name="Group 2"/>
          <p:cNvGrpSpPr/>
          <p:nvPr/>
        </p:nvGrpSpPr>
        <p:grpSpPr>
          <a:xfrm rot="722023">
            <a:off x="5179063" y="1562933"/>
            <a:ext cx="2476333" cy="1698625"/>
            <a:chOff x="1341376" y="1249363"/>
            <a:chExt cx="2476333" cy="1698625"/>
          </a:xfrm>
        </p:grpSpPr>
        <p:sp>
          <p:nvSpPr>
            <p:cNvPr id="4" name="Rectangle 3"/>
            <p:cNvSpPr/>
            <p:nvPr/>
          </p:nvSpPr>
          <p:spPr>
            <a:xfrm>
              <a:off x="1722377" y="1325563"/>
              <a:ext cx="1676400" cy="479425"/>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4" descr="hellomynameis.png"/>
            <p:cNvPicPr>
              <a:picLocks noChangeAspect="1"/>
            </p:cNvPicPr>
            <p:nvPr/>
          </p:nvPicPr>
          <p:blipFill>
            <a:blip r:embed="rId4">
              <a:clrChange>
                <a:clrFrom>
                  <a:srgbClr val="FFFFFF"/>
                </a:clrFrom>
                <a:clrTo>
                  <a:srgbClr val="FFFFFF">
                    <a:alpha val="0"/>
                  </a:srgbClr>
                </a:clrTo>
              </a:clrChange>
            </a:blip>
            <a:srcRect l="3226" t="5376" r="3226" b="9065"/>
            <a:stretch>
              <a:fillRect/>
            </a:stretch>
          </p:blipFill>
          <p:spPr>
            <a:xfrm>
              <a:off x="1341376" y="1249363"/>
              <a:ext cx="2476333" cy="1698625"/>
            </a:xfrm>
            <a:prstGeom prst="rect">
              <a:avLst/>
            </a:prstGeom>
          </p:spPr>
        </p:pic>
        <p:sp>
          <p:nvSpPr>
            <p:cNvPr id="6" name="Title 1"/>
            <p:cNvSpPr txBox="1">
              <a:spLocks/>
            </p:cNvSpPr>
            <p:nvPr/>
          </p:nvSpPr>
          <p:spPr>
            <a:xfrm>
              <a:off x="1341376" y="1728788"/>
              <a:ext cx="2476333" cy="1060704"/>
            </a:xfrm>
            <a:prstGeom prst="rect">
              <a:avLst/>
            </a:prstGeom>
            <a:solidFill>
              <a:schemeClr val="bg1">
                <a:lumMod val="95000"/>
              </a:schemeClr>
            </a:solidFill>
            <a:effectLst/>
          </p:spPr>
          <p:txBody>
            <a:bodyPr vert="horz" lIns="91440" tIns="45720" rIns="91440" bIns="45720" rtlCol="0" anchor="ctr">
              <a:normAutofit/>
            </a:bodyPr>
            <a:lstStyle/>
            <a:p>
              <a:pPr marL="0" marR="0" lvl="0" indent="0" algn="ctr" defTabSz="457200" rtl="0" eaLnBrk="1" fontAlgn="auto" latinLnBrk="0" hangingPunct="1">
                <a:lnSpc>
                  <a:spcPct val="100000"/>
                </a:lnSpc>
                <a:spcBef>
                  <a:spcPct val="0"/>
                </a:spcBef>
                <a:spcAft>
                  <a:spcPts val="0"/>
                </a:spcAft>
                <a:buClrTx/>
                <a:buSzTx/>
                <a:buFontTx/>
                <a:buNone/>
                <a:tabLst/>
                <a:defRPr/>
              </a:pPr>
              <a:r>
                <a:rPr lang="en-US" sz="4000" dirty="0" smtClean="0">
                  <a:latin typeface="Tekton Pro Bold"/>
                  <a:ea typeface="+mj-ea"/>
                  <a:cs typeface="Tekton Pro Bold"/>
                </a:rPr>
                <a:t>Co</a:t>
              </a:r>
            </a:p>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1400" i="0" u="none" strike="noStrike" kern="1200" cap="none" spc="0" normalizeH="0" baseline="0" noProof="0" dirty="0" smtClean="0">
                <a:ln>
                  <a:noFill/>
                </a:ln>
                <a:solidFill>
                  <a:srgbClr val="FF0000"/>
                </a:solidFill>
                <a:effectLst/>
                <a:uLnTx/>
                <a:uFillTx/>
                <a:latin typeface="Tekton Pro Bold"/>
                <a:ea typeface="+mj-ea"/>
                <a:cs typeface="Tekton Pro Bold"/>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8913" name="AutoShape 26"/>
          <p:cNvSpPr>
            <a:spLocks noChangeArrowheads="1"/>
          </p:cNvSpPr>
          <p:nvPr>
            <p:custDataLst>
              <p:tags r:id="rId1"/>
            </p:custDataLst>
          </p:nvPr>
        </p:nvSpPr>
        <p:spPr bwMode="auto">
          <a:xfrm rot="-5400000">
            <a:off x="4852988" y="1765300"/>
            <a:ext cx="1117600" cy="1784350"/>
          </a:xfrm>
          <a:custGeom>
            <a:avLst/>
            <a:gdLst>
              <a:gd name="T0" fmla="*/ 49119503 w 21600"/>
              <a:gd name="T1" fmla="*/ 73701503 h 21600"/>
              <a:gd name="T2" fmla="*/ 28912726 w 21600"/>
              <a:gd name="T3" fmla="*/ 147403006 h 21600"/>
              <a:gd name="T4" fmla="*/ 8705949 w 21600"/>
              <a:gd name="T5" fmla="*/ 73701503 h 21600"/>
              <a:gd name="T6" fmla="*/ 28912726 w 21600"/>
              <a:gd name="T7" fmla="*/ 0 h 21600"/>
              <a:gd name="T8" fmla="*/ 0 60000 65536"/>
              <a:gd name="T9" fmla="*/ 0 60000 65536"/>
              <a:gd name="T10" fmla="*/ 0 60000 65536"/>
              <a:gd name="T11" fmla="*/ 0 60000 65536"/>
              <a:gd name="T12" fmla="*/ 5052 w 21600"/>
              <a:gd name="T13" fmla="*/ 5052 h 21600"/>
              <a:gd name="T14" fmla="*/ 16548 w 21600"/>
              <a:gd name="T15" fmla="*/ 16548 h 21600"/>
            </a:gdLst>
            <a:ahLst/>
            <a:cxnLst>
              <a:cxn ang="T8">
                <a:pos x="T0" y="T1"/>
              </a:cxn>
              <a:cxn ang="T9">
                <a:pos x="T2" y="T3"/>
              </a:cxn>
              <a:cxn ang="T10">
                <a:pos x="T4" y="T5"/>
              </a:cxn>
              <a:cxn ang="T11">
                <a:pos x="T6" y="T7"/>
              </a:cxn>
            </a:cxnLst>
            <a:rect l="T12" t="T13" r="T14" b="T15"/>
            <a:pathLst>
              <a:path w="21600" h="21600">
                <a:moveTo>
                  <a:pt x="0" y="0"/>
                </a:moveTo>
                <a:lnTo>
                  <a:pt x="6504" y="21600"/>
                </a:lnTo>
                <a:lnTo>
                  <a:pt x="15096" y="21600"/>
                </a:lnTo>
                <a:lnTo>
                  <a:pt x="21600" y="0"/>
                </a:lnTo>
                <a:close/>
              </a:path>
            </a:pathLst>
          </a:custGeom>
          <a:solidFill>
            <a:schemeClr val="bg1"/>
          </a:solidFill>
          <a:ln w="9525">
            <a:solidFill>
              <a:schemeClr val="tx1"/>
            </a:solidFill>
            <a:miter lim="800000"/>
            <a:headEnd/>
            <a:tailEnd/>
          </a:ln>
        </p:spPr>
        <p:txBody>
          <a:bodyPr vert="eaVert" wrap="none" anchor="ctr">
            <a:prstTxWarp prst="textNoShape">
              <a:avLst/>
            </a:prstTxWarp>
          </a:bodyPr>
          <a:lstStyle/>
          <a:p>
            <a:pPr algn="ctr"/>
            <a:endParaRPr lang="en-US"/>
          </a:p>
        </p:txBody>
      </p:sp>
      <p:sp>
        <p:nvSpPr>
          <p:cNvPr id="38914" name="AutoShape 7"/>
          <p:cNvSpPr>
            <a:spLocks noChangeArrowheads="1"/>
          </p:cNvSpPr>
          <p:nvPr>
            <p:custDataLst>
              <p:tags r:id="rId2"/>
            </p:custDataLst>
          </p:nvPr>
        </p:nvSpPr>
        <p:spPr bwMode="auto">
          <a:xfrm rot="-5400000">
            <a:off x="3373438" y="1914525"/>
            <a:ext cx="2478088" cy="1582737"/>
          </a:xfrm>
          <a:prstGeom prst="parallelogram">
            <a:avLst>
              <a:gd name="adj" fmla="val 39142"/>
            </a:avLst>
          </a:prstGeom>
          <a:solidFill>
            <a:srgbClr val="FF0000"/>
          </a:solidFill>
          <a:ln w="9525">
            <a:solidFill>
              <a:schemeClr val="tx1"/>
            </a:solidFill>
            <a:miter lim="800000"/>
            <a:headEnd/>
            <a:tailEnd/>
          </a:ln>
        </p:spPr>
        <p:txBody>
          <a:bodyPr wrap="none" anchor="ctr">
            <a:prstTxWarp prst="textNoShape">
              <a:avLst/>
            </a:prstTxWarp>
          </a:bodyPr>
          <a:lstStyle/>
          <a:p>
            <a:endParaRPr lang="en-US"/>
          </a:p>
        </p:txBody>
      </p:sp>
      <p:sp>
        <p:nvSpPr>
          <p:cNvPr id="38915" name="AutoShape 8"/>
          <p:cNvSpPr>
            <a:spLocks noChangeArrowheads="1"/>
          </p:cNvSpPr>
          <p:nvPr>
            <p:custDataLst>
              <p:tags r:id="rId3"/>
            </p:custDataLst>
          </p:nvPr>
        </p:nvSpPr>
        <p:spPr bwMode="auto">
          <a:xfrm rot="-5400000">
            <a:off x="2081213" y="1314450"/>
            <a:ext cx="2176462" cy="2713038"/>
          </a:xfrm>
          <a:custGeom>
            <a:avLst/>
            <a:gdLst>
              <a:gd name="T0" fmla="*/ 191891803 w 21600"/>
              <a:gd name="T1" fmla="*/ 170383685 h 21600"/>
              <a:gd name="T2" fmla="*/ 109652473 w 21600"/>
              <a:gd name="T3" fmla="*/ 340767370 h 21600"/>
              <a:gd name="T4" fmla="*/ 27413143 w 21600"/>
              <a:gd name="T5" fmla="*/ 170383685 h 21600"/>
              <a:gd name="T6" fmla="*/ 109652473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chemeClr val="bg1"/>
          </a:solidFill>
          <a:ln w="9525">
            <a:solidFill>
              <a:schemeClr val="tx1"/>
            </a:solidFill>
            <a:miter lim="800000"/>
            <a:headEnd/>
            <a:tailEnd/>
          </a:ln>
        </p:spPr>
        <p:txBody>
          <a:bodyPr vert="eaVert" wrap="none" anchor="ctr">
            <a:prstTxWarp prst="textNoShape">
              <a:avLst/>
            </a:prstTxWarp>
          </a:bodyPr>
          <a:lstStyle/>
          <a:p>
            <a:pPr algn="ctr"/>
            <a:endParaRPr lang="en-US"/>
          </a:p>
        </p:txBody>
      </p:sp>
      <p:sp>
        <p:nvSpPr>
          <p:cNvPr id="38916" name="Text Box 10"/>
          <p:cNvSpPr txBox="1">
            <a:spLocks noChangeArrowheads="1"/>
          </p:cNvSpPr>
          <p:nvPr>
            <p:custDataLst>
              <p:tags r:id="rId4"/>
            </p:custDataLst>
          </p:nvPr>
        </p:nvSpPr>
        <p:spPr bwMode="auto">
          <a:xfrm>
            <a:off x="1876425" y="4467225"/>
            <a:ext cx="1863725" cy="954088"/>
          </a:xfrm>
          <a:prstGeom prst="rect">
            <a:avLst/>
          </a:prstGeom>
          <a:noFill/>
          <a:ln w="9525">
            <a:noFill/>
            <a:miter lim="800000"/>
            <a:headEnd/>
            <a:tailEnd/>
          </a:ln>
        </p:spPr>
        <p:txBody>
          <a:bodyPr>
            <a:prstTxWarp prst="textNoShape">
              <a:avLst/>
            </a:prstTxWarp>
            <a:spAutoFit/>
          </a:bodyPr>
          <a:lstStyle/>
          <a:p>
            <a:pPr algn="ctr"/>
            <a:r>
              <a:rPr lang="en-US" sz="1400">
                <a:latin typeface="Helvetica" pitchFamily="-123" charset="0"/>
                <a:ea typeface="Helvetica" pitchFamily="-123" charset="0"/>
                <a:cs typeface="Helvetica" pitchFamily="-123" charset="0"/>
              </a:rPr>
              <a:t>All the creative, wild, bad, OK, and undeveloped ideas from your brainstorm</a:t>
            </a:r>
          </a:p>
        </p:txBody>
      </p:sp>
      <p:sp>
        <p:nvSpPr>
          <p:cNvPr id="38917" name="Text Box 11"/>
          <p:cNvSpPr txBox="1">
            <a:spLocks noChangeArrowheads="1"/>
          </p:cNvSpPr>
          <p:nvPr>
            <p:custDataLst>
              <p:tags r:id="rId5"/>
            </p:custDataLst>
          </p:nvPr>
        </p:nvSpPr>
        <p:spPr bwMode="auto">
          <a:xfrm>
            <a:off x="6186488" y="4467225"/>
            <a:ext cx="1863725" cy="523875"/>
          </a:xfrm>
          <a:prstGeom prst="rect">
            <a:avLst/>
          </a:prstGeom>
          <a:noFill/>
          <a:ln w="9525">
            <a:noFill/>
            <a:miter lim="800000"/>
            <a:headEnd/>
            <a:tailEnd/>
          </a:ln>
        </p:spPr>
        <p:txBody>
          <a:bodyPr>
            <a:prstTxWarp prst="textNoShape">
              <a:avLst/>
            </a:prstTxWarp>
            <a:spAutoFit/>
          </a:bodyPr>
          <a:lstStyle/>
          <a:p>
            <a:pPr algn="ctr"/>
            <a:r>
              <a:rPr lang="en-US" sz="1400">
                <a:latin typeface="Helvetica" pitchFamily="-123" charset="0"/>
                <a:ea typeface="Helvetica" pitchFamily="-123" charset="0"/>
                <a:cs typeface="Helvetica" pitchFamily="-123" charset="0"/>
              </a:rPr>
              <a:t>Yield familiar and incremental results</a:t>
            </a:r>
          </a:p>
        </p:txBody>
      </p:sp>
      <p:sp>
        <p:nvSpPr>
          <p:cNvPr id="38918" name="Text Box 12"/>
          <p:cNvSpPr txBox="1">
            <a:spLocks noChangeArrowheads="1"/>
          </p:cNvSpPr>
          <p:nvPr>
            <p:custDataLst>
              <p:tags r:id="rId6"/>
            </p:custDataLst>
          </p:nvPr>
        </p:nvSpPr>
        <p:spPr bwMode="auto">
          <a:xfrm>
            <a:off x="4030663" y="4467225"/>
            <a:ext cx="1863725" cy="1169988"/>
          </a:xfrm>
          <a:prstGeom prst="rect">
            <a:avLst/>
          </a:prstGeom>
          <a:noFill/>
          <a:ln w="9525">
            <a:noFill/>
            <a:miter lim="800000"/>
            <a:headEnd/>
            <a:tailEnd/>
          </a:ln>
        </p:spPr>
        <p:txBody>
          <a:bodyPr>
            <a:prstTxWarp prst="textNoShape">
              <a:avLst/>
            </a:prstTxWarp>
            <a:spAutoFit/>
          </a:bodyPr>
          <a:lstStyle/>
          <a:p>
            <a:pPr algn="ctr"/>
            <a:r>
              <a:rPr lang="en-US" sz="1400">
                <a:latin typeface="Helvetica" pitchFamily="-123" charset="0"/>
                <a:ea typeface="Helvetica" pitchFamily="-123" charset="0"/>
                <a:cs typeface="Helvetica" pitchFamily="-123" charset="0"/>
              </a:rPr>
              <a:t>When evaluated with typical “attractive” and “feasible” criteria before direct implementation</a:t>
            </a:r>
          </a:p>
        </p:txBody>
      </p:sp>
      <p:sp>
        <p:nvSpPr>
          <p:cNvPr id="38919" name="Freeform 14"/>
          <p:cNvSpPr>
            <a:spLocks noRot="1" noChangeAspect="1" noEditPoints="1" noChangeArrowheads="1" noChangeShapeType="1" noTextEdit="1"/>
          </p:cNvSpPr>
          <p:nvPr>
            <p:custDataLst>
              <p:tags r:id="rId7"/>
            </p:custDataLst>
          </p:nvPr>
        </p:nvSpPr>
        <p:spPr bwMode="auto">
          <a:xfrm>
            <a:off x="1863725" y="1693863"/>
            <a:ext cx="2620963" cy="1687512"/>
          </a:xfrm>
          <a:custGeom>
            <a:avLst/>
            <a:gdLst>
              <a:gd name="T0" fmla="*/ 658660 w 7282"/>
              <a:gd name="T1" fmla="*/ 638489 h 4686"/>
              <a:gd name="T2" fmla="*/ 235750 w 7282"/>
              <a:gd name="T3" fmla="*/ 1162100 h 4686"/>
              <a:gd name="T4" fmla="*/ 129572 w 7282"/>
              <a:gd name="T5" fmla="*/ 709792 h 4686"/>
              <a:gd name="T6" fmla="*/ 1083010 w 7282"/>
              <a:gd name="T7" fmla="*/ 566105 h 4686"/>
              <a:gd name="T8" fmla="*/ 1123321 w 7282"/>
              <a:gd name="T9" fmla="*/ 520010 h 4686"/>
              <a:gd name="T10" fmla="*/ 1145637 w 7282"/>
              <a:gd name="T11" fmla="*/ 747965 h 4686"/>
              <a:gd name="T12" fmla="*/ 473299 w 7282"/>
              <a:gd name="T13" fmla="*/ 796581 h 4686"/>
              <a:gd name="T14" fmla="*/ 2117070 w 7282"/>
              <a:gd name="T15" fmla="*/ 1128249 h 4686"/>
              <a:gd name="T16" fmla="*/ 2115990 w 7282"/>
              <a:gd name="T17" fmla="*/ 1372409 h 4686"/>
              <a:gd name="T18" fmla="*/ 2233325 w 7282"/>
              <a:gd name="T19" fmla="*/ 1391495 h 4686"/>
              <a:gd name="T20" fmla="*/ 1585103 w 7282"/>
              <a:gd name="T21" fmla="*/ 565025 h 4686"/>
              <a:gd name="T22" fmla="*/ 1757866 w 7282"/>
              <a:gd name="T23" fmla="*/ 687105 h 4686"/>
              <a:gd name="T24" fmla="*/ 2266798 w 7282"/>
              <a:gd name="T25" fmla="*/ 541617 h 4686"/>
              <a:gd name="T26" fmla="*/ 2185815 w 7282"/>
              <a:gd name="T27" fmla="*/ 713753 h 4686"/>
              <a:gd name="T28" fmla="*/ 1041979 w 7282"/>
              <a:gd name="T29" fmla="*/ 1369888 h 4686"/>
              <a:gd name="T30" fmla="*/ 1191707 w 7282"/>
              <a:gd name="T31" fmla="*/ 1460998 h 4686"/>
              <a:gd name="T32" fmla="*/ 1079051 w 7282"/>
              <a:gd name="T33" fmla="*/ 1668426 h 4686"/>
              <a:gd name="T34" fmla="*/ 477978 w 7282"/>
              <a:gd name="T35" fmla="*/ 111276 h 4686"/>
              <a:gd name="T36" fmla="*/ 1457330 w 7282"/>
              <a:gd name="T37" fmla="*/ 1272296 h 4686"/>
              <a:gd name="T38" fmla="*/ 960276 w 7282"/>
              <a:gd name="T39" fmla="*/ 1064148 h 4686"/>
              <a:gd name="T40" fmla="*/ 928603 w 7282"/>
              <a:gd name="T41" fmla="*/ 834033 h 4686"/>
              <a:gd name="T42" fmla="*/ 1112524 w 7282"/>
              <a:gd name="T43" fmla="*/ 1130050 h 4686"/>
              <a:gd name="T44" fmla="*/ 991949 w 7282"/>
              <a:gd name="T45" fmla="*/ 1168942 h 4686"/>
              <a:gd name="T46" fmla="*/ 1079051 w 7282"/>
              <a:gd name="T47" fmla="*/ 1204234 h 4686"/>
              <a:gd name="T48" fmla="*/ 1023982 w 7282"/>
              <a:gd name="T49" fmla="*/ 955032 h 4686"/>
              <a:gd name="T50" fmla="*/ 2261399 w 7282"/>
              <a:gd name="T51" fmla="*/ 1209996 h 4686"/>
              <a:gd name="T52" fmla="*/ 2408968 w 7282"/>
              <a:gd name="T53" fmla="*/ 1235204 h 4686"/>
              <a:gd name="T54" fmla="*/ 2416167 w 7282"/>
              <a:gd name="T55" fmla="*/ 1445873 h 4686"/>
              <a:gd name="T56" fmla="*/ 2533142 w 7282"/>
              <a:gd name="T57" fmla="*/ 1208195 h 4686"/>
              <a:gd name="T58" fmla="*/ 2523424 w 7282"/>
              <a:gd name="T59" fmla="*/ 518930 h 4686"/>
              <a:gd name="T60" fmla="*/ 2475554 w 7282"/>
              <a:gd name="T61" fmla="*/ 640289 h 4686"/>
              <a:gd name="T62" fmla="*/ 2537461 w 7282"/>
              <a:gd name="T63" fmla="*/ 627685 h 4686"/>
              <a:gd name="T64" fmla="*/ 2569134 w 7282"/>
              <a:gd name="T65" fmla="*/ 738602 h 4686"/>
              <a:gd name="T66" fmla="*/ 2003694 w 7282"/>
              <a:gd name="T67" fmla="*/ 628406 h 4686"/>
              <a:gd name="T68" fmla="*/ 1909394 w 7282"/>
              <a:gd name="T69" fmla="*/ 661176 h 4686"/>
              <a:gd name="T70" fmla="*/ 1951505 w 7282"/>
              <a:gd name="T71" fmla="*/ 803783 h 4686"/>
              <a:gd name="T72" fmla="*/ 1432855 w 7282"/>
              <a:gd name="T73" fmla="*/ 591674 h 4686"/>
              <a:gd name="T74" fmla="*/ 1481445 w 7282"/>
              <a:gd name="T75" fmla="*/ 673060 h 4686"/>
              <a:gd name="T76" fmla="*/ 1327758 w 7282"/>
              <a:gd name="T77" fmla="*/ 673060 h 4686"/>
              <a:gd name="T78" fmla="*/ 1931709 w 7282"/>
              <a:gd name="T79" fmla="*/ 937747 h 4686"/>
              <a:gd name="T80" fmla="*/ 1945027 w 7282"/>
              <a:gd name="T81" fmla="*/ 1193790 h 4686"/>
              <a:gd name="T82" fmla="*/ 1848207 w 7282"/>
              <a:gd name="T83" fmla="*/ 1175424 h 4686"/>
              <a:gd name="T84" fmla="*/ 696812 w 7282"/>
              <a:gd name="T85" fmla="*/ 1148416 h 4686"/>
              <a:gd name="T86" fmla="*/ 968194 w 7282"/>
              <a:gd name="T87" fmla="*/ 1060547 h 4686"/>
              <a:gd name="T88" fmla="*/ 313853 w 7282"/>
              <a:gd name="T89" fmla="*/ 1062348 h 4686"/>
              <a:gd name="T90" fmla="*/ 277141 w 7282"/>
              <a:gd name="T91" fmla="*/ 1127529 h 4686"/>
              <a:gd name="T92" fmla="*/ 669458 w 7282"/>
              <a:gd name="T93" fmla="*/ 1131130 h 4686"/>
              <a:gd name="T94" fmla="*/ 638144 w 7282"/>
              <a:gd name="T95" fmla="*/ 1156698 h 4686"/>
              <a:gd name="T96" fmla="*/ 862017 w 7282"/>
              <a:gd name="T97" fmla="*/ 998247 h 4686"/>
              <a:gd name="T98" fmla="*/ 806589 w 7282"/>
              <a:gd name="T99" fmla="*/ 1020934 h 4686"/>
              <a:gd name="T100" fmla="*/ 800830 w 7282"/>
              <a:gd name="T101" fmla="*/ 591313 h 4686"/>
              <a:gd name="T102" fmla="*/ 725606 w 7282"/>
              <a:gd name="T103" fmla="*/ 977360 h 4686"/>
              <a:gd name="T104" fmla="*/ 747921 w 7282"/>
              <a:gd name="T105" fmla="*/ 696108 h 4686"/>
              <a:gd name="T106" fmla="*/ 383319 w 7282"/>
              <a:gd name="T107" fmla="*/ 1000047 h 4686"/>
              <a:gd name="T108" fmla="*/ 795431 w 7282"/>
              <a:gd name="T109" fmla="*/ 158452 h 4686"/>
              <a:gd name="T110" fmla="*/ 808388 w 7282"/>
              <a:gd name="T111" fmla="*/ 283413 h 4686"/>
              <a:gd name="T112" fmla="*/ 1338556 w 7282"/>
              <a:gd name="T113" fmla="*/ 359037 h 4686"/>
              <a:gd name="T114" fmla="*/ 1398663 w 7282"/>
              <a:gd name="T115" fmla="*/ 437543 h 4686"/>
              <a:gd name="T116" fmla="*/ 1402982 w 7282"/>
              <a:gd name="T117" fmla="*/ 1491968 h 468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282"/>
              <a:gd name="T178" fmla="*/ 0 h 4686"/>
              <a:gd name="T179" fmla="*/ 7282 w 7282"/>
              <a:gd name="T180" fmla="*/ 4686 h 468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282" h="4686" extrusionOk="0">
                <a:moveTo>
                  <a:pt x="862" y="1361"/>
                </a:moveTo>
                <a:cubicBezTo>
                  <a:pt x="855" y="1331"/>
                  <a:pt x="821" y="1335"/>
                  <a:pt x="825" y="1304"/>
                </a:cubicBezTo>
                <a:cubicBezTo>
                  <a:pt x="846" y="1148"/>
                  <a:pt x="980" y="933"/>
                  <a:pt x="1093" y="831"/>
                </a:cubicBezTo>
                <a:cubicBezTo>
                  <a:pt x="1173" y="759"/>
                  <a:pt x="1289" y="667"/>
                  <a:pt x="1375" y="786"/>
                </a:cubicBezTo>
                <a:cubicBezTo>
                  <a:pt x="1456" y="898"/>
                  <a:pt x="1450" y="1128"/>
                  <a:pt x="1408" y="1254"/>
                </a:cubicBezTo>
                <a:cubicBezTo>
                  <a:pt x="1399" y="1282"/>
                  <a:pt x="1387" y="1277"/>
                  <a:pt x="1375" y="1304"/>
                </a:cubicBezTo>
                <a:cubicBezTo>
                  <a:pt x="1411" y="1236"/>
                  <a:pt x="1385" y="1211"/>
                  <a:pt x="1477" y="1186"/>
                </a:cubicBezTo>
                <a:cubicBezTo>
                  <a:pt x="1607" y="1151"/>
                  <a:pt x="1836" y="1231"/>
                  <a:pt x="1911" y="1341"/>
                </a:cubicBezTo>
                <a:cubicBezTo>
                  <a:pt x="2016" y="1495"/>
                  <a:pt x="1930" y="1656"/>
                  <a:pt x="1830" y="1773"/>
                </a:cubicBezTo>
                <a:cubicBezTo>
                  <a:pt x="1886" y="1714"/>
                  <a:pt x="1915" y="1662"/>
                  <a:pt x="2000" y="1623"/>
                </a:cubicBezTo>
                <a:cubicBezTo>
                  <a:pt x="2139" y="1559"/>
                  <a:pt x="2316" y="1540"/>
                  <a:pt x="2403" y="1693"/>
                </a:cubicBezTo>
                <a:cubicBezTo>
                  <a:pt x="2563" y="1973"/>
                  <a:pt x="2342" y="2339"/>
                  <a:pt x="2145" y="2531"/>
                </a:cubicBezTo>
                <a:cubicBezTo>
                  <a:pt x="2055" y="2619"/>
                  <a:pt x="1958" y="2700"/>
                  <a:pt x="1863" y="2782"/>
                </a:cubicBezTo>
                <a:cubicBezTo>
                  <a:pt x="1903" y="2769"/>
                  <a:pt x="1957" y="2743"/>
                  <a:pt x="2001" y="2735"/>
                </a:cubicBezTo>
                <a:cubicBezTo>
                  <a:pt x="2056" y="2725"/>
                  <a:pt x="2127" y="2714"/>
                  <a:pt x="2171" y="2760"/>
                </a:cubicBezTo>
                <a:cubicBezTo>
                  <a:pt x="2265" y="2860"/>
                  <a:pt x="2138" y="3007"/>
                  <a:pt x="2066" y="3069"/>
                </a:cubicBezTo>
                <a:cubicBezTo>
                  <a:pt x="1858" y="3247"/>
                  <a:pt x="1450" y="3246"/>
                  <a:pt x="1197" y="3265"/>
                </a:cubicBezTo>
                <a:cubicBezTo>
                  <a:pt x="1050" y="3276"/>
                  <a:pt x="787" y="3322"/>
                  <a:pt x="655" y="3227"/>
                </a:cubicBezTo>
                <a:cubicBezTo>
                  <a:pt x="572" y="3167"/>
                  <a:pt x="640" y="3089"/>
                  <a:pt x="677" y="3028"/>
                </a:cubicBezTo>
                <a:cubicBezTo>
                  <a:pt x="736" y="2931"/>
                  <a:pt x="877" y="2850"/>
                  <a:pt x="987" y="2852"/>
                </a:cubicBezTo>
                <a:cubicBezTo>
                  <a:pt x="992" y="2858"/>
                  <a:pt x="998" y="2864"/>
                  <a:pt x="1003" y="2870"/>
                </a:cubicBezTo>
                <a:cubicBezTo>
                  <a:pt x="954" y="2955"/>
                  <a:pt x="943" y="3034"/>
                  <a:pt x="815" y="3051"/>
                </a:cubicBezTo>
                <a:cubicBezTo>
                  <a:pt x="606" y="3079"/>
                  <a:pt x="447" y="2895"/>
                  <a:pt x="335" y="2745"/>
                </a:cubicBezTo>
                <a:cubicBezTo>
                  <a:pt x="163" y="2514"/>
                  <a:pt x="24" y="2191"/>
                  <a:pt x="164" y="1913"/>
                </a:cubicBezTo>
                <a:cubicBezTo>
                  <a:pt x="226" y="1790"/>
                  <a:pt x="311" y="1708"/>
                  <a:pt x="414" y="1628"/>
                </a:cubicBezTo>
                <a:cubicBezTo>
                  <a:pt x="420" y="1674"/>
                  <a:pt x="437" y="1698"/>
                  <a:pt x="425" y="1763"/>
                </a:cubicBezTo>
                <a:cubicBezTo>
                  <a:pt x="412" y="1836"/>
                  <a:pt x="384" y="1902"/>
                  <a:pt x="360" y="1971"/>
                </a:cubicBezTo>
                <a:cubicBezTo>
                  <a:pt x="371" y="1863"/>
                  <a:pt x="385" y="1755"/>
                  <a:pt x="400" y="1647"/>
                </a:cubicBezTo>
                <a:cubicBezTo>
                  <a:pt x="418" y="1523"/>
                  <a:pt x="438" y="1401"/>
                  <a:pt x="469" y="1283"/>
                </a:cubicBezTo>
                <a:cubicBezTo>
                  <a:pt x="513" y="1294"/>
                  <a:pt x="562" y="1303"/>
                  <a:pt x="609" y="1319"/>
                </a:cubicBezTo>
                <a:cubicBezTo>
                  <a:pt x="675" y="1342"/>
                  <a:pt x="739" y="1368"/>
                  <a:pt x="804" y="1394"/>
                </a:cubicBezTo>
              </a:path>
              <a:path w="7282" h="4686" extrusionOk="0">
                <a:moveTo>
                  <a:pt x="2766" y="885"/>
                </a:moveTo>
                <a:cubicBezTo>
                  <a:pt x="2785" y="914"/>
                  <a:pt x="2791" y="945"/>
                  <a:pt x="2800" y="979"/>
                </a:cubicBezTo>
                <a:cubicBezTo>
                  <a:pt x="2813" y="1026"/>
                  <a:pt x="2837" y="1071"/>
                  <a:pt x="2855" y="1117"/>
                </a:cubicBezTo>
                <a:cubicBezTo>
                  <a:pt x="2884" y="1190"/>
                  <a:pt x="2910" y="1264"/>
                  <a:pt x="2934" y="1339"/>
                </a:cubicBezTo>
                <a:cubicBezTo>
                  <a:pt x="2959" y="1416"/>
                  <a:pt x="2978" y="1498"/>
                  <a:pt x="3009" y="1572"/>
                </a:cubicBezTo>
                <a:cubicBezTo>
                  <a:pt x="3014" y="1585"/>
                  <a:pt x="3049" y="1672"/>
                  <a:pt x="3079" y="1662"/>
                </a:cubicBezTo>
                <a:cubicBezTo>
                  <a:pt x="3086" y="1651"/>
                  <a:pt x="3094" y="1639"/>
                  <a:pt x="3101" y="1628"/>
                </a:cubicBezTo>
              </a:path>
              <a:path w="7282" h="4686" extrusionOk="0">
                <a:moveTo>
                  <a:pt x="2865" y="944"/>
                </a:moveTo>
                <a:cubicBezTo>
                  <a:pt x="2900" y="902"/>
                  <a:pt x="2929" y="880"/>
                  <a:pt x="2973" y="851"/>
                </a:cubicBezTo>
                <a:cubicBezTo>
                  <a:pt x="3006" y="829"/>
                  <a:pt x="3040" y="816"/>
                  <a:pt x="3079" y="834"/>
                </a:cubicBezTo>
                <a:cubicBezTo>
                  <a:pt x="3117" y="851"/>
                  <a:pt x="3126" y="898"/>
                  <a:pt x="3133" y="934"/>
                </a:cubicBezTo>
                <a:cubicBezTo>
                  <a:pt x="3143" y="985"/>
                  <a:pt x="3141" y="1040"/>
                  <a:pt x="3141" y="1092"/>
                </a:cubicBezTo>
                <a:cubicBezTo>
                  <a:pt x="3141" y="1165"/>
                  <a:pt x="3136" y="1236"/>
                  <a:pt x="3133" y="1309"/>
                </a:cubicBezTo>
                <a:cubicBezTo>
                  <a:pt x="3131" y="1355"/>
                  <a:pt x="3121" y="1397"/>
                  <a:pt x="3121" y="1444"/>
                </a:cubicBezTo>
                <a:cubicBezTo>
                  <a:pt x="3123" y="1473"/>
                  <a:pt x="3124" y="1483"/>
                  <a:pt x="3124" y="1502"/>
                </a:cubicBezTo>
              </a:path>
              <a:path w="7282" h="4686" extrusionOk="0">
                <a:moveTo>
                  <a:pt x="3188" y="2107"/>
                </a:moveTo>
                <a:cubicBezTo>
                  <a:pt x="3175" y="2161"/>
                  <a:pt x="3157" y="2211"/>
                  <a:pt x="3153" y="2265"/>
                </a:cubicBezTo>
                <a:cubicBezTo>
                  <a:pt x="3150" y="2300"/>
                  <a:pt x="3159" y="2337"/>
                  <a:pt x="3204" y="2328"/>
                </a:cubicBezTo>
                <a:cubicBezTo>
                  <a:pt x="3268" y="2316"/>
                  <a:pt x="3324" y="2251"/>
                  <a:pt x="3361" y="2203"/>
                </a:cubicBezTo>
                <a:cubicBezTo>
                  <a:pt x="3400" y="2153"/>
                  <a:pt x="3425" y="2113"/>
                  <a:pt x="3418" y="2052"/>
                </a:cubicBezTo>
                <a:cubicBezTo>
                  <a:pt x="3364" y="2040"/>
                  <a:pt x="3316" y="2055"/>
                  <a:pt x="3266" y="2085"/>
                </a:cubicBezTo>
                <a:cubicBezTo>
                  <a:pt x="3231" y="2106"/>
                  <a:pt x="3158" y="2156"/>
                  <a:pt x="3166" y="2115"/>
                </a:cubicBezTo>
                <a:cubicBezTo>
                  <a:pt x="3172" y="2102"/>
                  <a:pt x="3177" y="2090"/>
                  <a:pt x="3183" y="2077"/>
                </a:cubicBezTo>
              </a:path>
              <a:path w="7282" h="4686" extrusionOk="0">
                <a:moveTo>
                  <a:pt x="918" y="1901"/>
                </a:moveTo>
                <a:cubicBezTo>
                  <a:pt x="950" y="1919"/>
                  <a:pt x="985" y="1916"/>
                  <a:pt x="1023" y="1919"/>
                </a:cubicBezTo>
                <a:cubicBezTo>
                  <a:pt x="1093" y="1924"/>
                  <a:pt x="1162" y="1927"/>
                  <a:pt x="1232" y="1934"/>
                </a:cubicBezTo>
                <a:cubicBezTo>
                  <a:pt x="1303" y="1941"/>
                  <a:pt x="1373" y="1951"/>
                  <a:pt x="1443" y="1962"/>
                </a:cubicBezTo>
                <a:cubicBezTo>
                  <a:pt x="1481" y="1968"/>
                  <a:pt x="1517" y="1975"/>
                  <a:pt x="1555" y="1984"/>
                </a:cubicBezTo>
              </a:path>
              <a:path w="7282" h="4686" extrusionOk="0">
                <a:moveTo>
                  <a:pt x="1052" y="2179"/>
                </a:moveTo>
                <a:cubicBezTo>
                  <a:pt x="1039" y="2194"/>
                  <a:pt x="1034" y="2199"/>
                  <a:pt x="1045" y="2212"/>
                </a:cubicBezTo>
                <a:cubicBezTo>
                  <a:pt x="1074" y="2214"/>
                  <a:pt x="1102" y="2214"/>
                  <a:pt x="1132" y="2213"/>
                </a:cubicBezTo>
                <a:cubicBezTo>
                  <a:pt x="1193" y="2211"/>
                  <a:pt x="1254" y="2212"/>
                  <a:pt x="1315" y="2212"/>
                </a:cubicBezTo>
                <a:cubicBezTo>
                  <a:pt x="1368" y="2212"/>
                  <a:pt x="1421" y="2215"/>
                  <a:pt x="1473" y="2222"/>
                </a:cubicBezTo>
                <a:cubicBezTo>
                  <a:pt x="1505" y="2226"/>
                  <a:pt x="1530" y="2234"/>
                  <a:pt x="1560" y="2245"/>
                </a:cubicBezTo>
              </a:path>
              <a:path w="7282" h="4686" extrusionOk="0">
                <a:moveTo>
                  <a:pt x="1047" y="2556"/>
                </a:moveTo>
                <a:cubicBezTo>
                  <a:pt x="1027" y="2550"/>
                  <a:pt x="1020" y="2546"/>
                  <a:pt x="1013" y="2531"/>
                </a:cubicBezTo>
                <a:cubicBezTo>
                  <a:pt x="1034" y="2505"/>
                  <a:pt x="1052" y="2514"/>
                  <a:pt x="1088" y="2519"/>
                </a:cubicBezTo>
                <a:cubicBezTo>
                  <a:pt x="1167" y="2530"/>
                  <a:pt x="1238" y="2534"/>
                  <a:pt x="1318" y="2529"/>
                </a:cubicBezTo>
                <a:cubicBezTo>
                  <a:pt x="1417" y="2523"/>
                  <a:pt x="1516" y="2514"/>
                  <a:pt x="1615" y="2506"/>
                </a:cubicBezTo>
              </a:path>
              <a:path w="7282" h="4686" extrusionOk="0">
                <a:moveTo>
                  <a:pt x="5802" y="3091"/>
                </a:moveTo>
                <a:cubicBezTo>
                  <a:pt x="5804" y="3091"/>
                  <a:pt x="5845" y="3101"/>
                  <a:pt x="5882" y="3133"/>
                </a:cubicBezTo>
                <a:cubicBezTo>
                  <a:pt x="5942" y="3185"/>
                  <a:pt x="5998" y="3240"/>
                  <a:pt x="6053" y="3297"/>
                </a:cubicBezTo>
                <a:cubicBezTo>
                  <a:pt x="6116" y="3362"/>
                  <a:pt x="6177" y="3427"/>
                  <a:pt x="6233" y="3498"/>
                </a:cubicBezTo>
                <a:cubicBezTo>
                  <a:pt x="6272" y="3547"/>
                  <a:pt x="6313" y="3638"/>
                  <a:pt x="6370" y="3669"/>
                </a:cubicBezTo>
                <a:cubicBezTo>
                  <a:pt x="6375" y="3670"/>
                  <a:pt x="6380" y="3670"/>
                  <a:pt x="6385" y="3671"/>
                </a:cubicBezTo>
              </a:path>
              <a:path w="7282" h="4686" extrusionOk="0">
                <a:moveTo>
                  <a:pt x="6448" y="3011"/>
                </a:moveTo>
                <a:cubicBezTo>
                  <a:pt x="6424" y="3027"/>
                  <a:pt x="6405" y="3056"/>
                  <a:pt x="6377" y="3096"/>
                </a:cubicBezTo>
                <a:cubicBezTo>
                  <a:pt x="6316" y="3183"/>
                  <a:pt x="6259" y="3273"/>
                  <a:pt x="6202" y="3364"/>
                </a:cubicBezTo>
                <a:cubicBezTo>
                  <a:pt x="6137" y="3468"/>
                  <a:pt x="6071" y="3569"/>
                  <a:pt x="6002" y="3669"/>
                </a:cubicBezTo>
                <a:cubicBezTo>
                  <a:pt x="5963" y="3725"/>
                  <a:pt x="5935" y="3772"/>
                  <a:pt x="5879" y="3811"/>
                </a:cubicBezTo>
              </a:path>
              <a:path w="7282" h="4686" extrusionOk="0">
                <a:moveTo>
                  <a:pt x="5782" y="3520"/>
                </a:moveTo>
                <a:cubicBezTo>
                  <a:pt x="5762" y="3498"/>
                  <a:pt x="5788" y="3493"/>
                  <a:pt x="5817" y="3478"/>
                </a:cubicBezTo>
                <a:cubicBezTo>
                  <a:pt x="5854" y="3459"/>
                  <a:pt x="5894" y="3444"/>
                  <a:pt x="5930" y="3423"/>
                </a:cubicBezTo>
                <a:cubicBezTo>
                  <a:pt x="5993" y="3387"/>
                  <a:pt x="6053" y="3351"/>
                  <a:pt x="6107" y="3302"/>
                </a:cubicBezTo>
                <a:cubicBezTo>
                  <a:pt x="6153" y="3256"/>
                  <a:pt x="6168" y="3241"/>
                  <a:pt x="6195" y="3207"/>
                </a:cubicBezTo>
              </a:path>
              <a:path w="7282" h="4686" extrusionOk="0">
                <a:moveTo>
                  <a:pt x="6142" y="2981"/>
                </a:moveTo>
                <a:cubicBezTo>
                  <a:pt x="6136" y="3082"/>
                  <a:pt x="6133" y="3186"/>
                  <a:pt x="6143" y="3287"/>
                </a:cubicBezTo>
                <a:cubicBezTo>
                  <a:pt x="6155" y="3407"/>
                  <a:pt x="6180" y="3526"/>
                  <a:pt x="6190" y="3646"/>
                </a:cubicBezTo>
                <a:cubicBezTo>
                  <a:pt x="6196" y="3718"/>
                  <a:pt x="6199" y="3791"/>
                  <a:pt x="6205" y="3864"/>
                </a:cubicBezTo>
              </a:path>
              <a:path w="7282" h="4686" extrusionOk="0">
                <a:moveTo>
                  <a:pt x="4371" y="1254"/>
                </a:moveTo>
                <a:cubicBezTo>
                  <a:pt x="4406" y="1251"/>
                  <a:pt x="4441" y="1245"/>
                  <a:pt x="4476" y="1243"/>
                </a:cubicBezTo>
                <a:cubicBezTo>
                  <a:pt x="4537" y="1239"/>
                  <a:pt x="4598" y="1233"/>
                  <a:pt x="4659" y="1230"/>
                </a:cubicBezTo>
                <a:cubicBezTo>
                  <a:pt x="4755" y="1226"/>
                  <a:pt x="4851" y="1223"/>
                  <a:pt x="4947" y="1218"/>
                </a:cubicBezTo>
                <a:cubicBezTo>
                  <a:pt x="5037" y="1214"/>
                  <a:pt x="5127" y="1215"/>
                  <a:pt x="5217" y="1216"/>
                </a:cubicBezTo>
                <a:cubicBezTo>
                  <a:pt x="5246" y="1216"/>
                  <a:pt x="5321" y="1215"/>
                  <a:pt x="5339" y="1249"/>
                </a:cubicBezTo>
                <a:cubicBezTo>
                  <a:pt x="5341" y="1259"/>
                  <a:pt x="5343" y="1268"/>
                  <a:pt x="5345" y="1278"/>
                </a:cubicBezTo>
              </a:path>
              <a:path w="7282" h="4686" extrusionOk="0">
                <a:moveTo>
                  <a:pt x="4461" y="1552"/>
                </a:moveTo>
                <a:cubicBezTo>
                  <a:pt x="4429" y="1571"/>
                  <a:pt x="4423" y="1585"/>
                  <a:pt x="4404" y="1569"/>
                </a:cubicBezTo>
                <a:cubicBezTo>
                  <a:pt x="4436" y="1545"/>
                  <a:pt x="4456" y="1539"/>
                  <a:pt x="4496" y="1534"/>
                </a:cubicBezTo>
                <a:cubicBezTo>
                  <a:pt x="4558" y="1527"/>
                  <a:pt x="4620" y="1534"/>
                  <a:pt x="4682" y="1539"/>
                </a:cubicBezTo>
                <a:cubicBezTo>
                  <a:pt x="4770" y="1547"/>
                  <a:pt x="4858" y="1557"/>
                  <a:pt x="4947" y="1562"/>
                </a:cubicBezTo>
                <a:cubicBezTo>
                  <a:pt x="5027" y="1567"/>
                  <a:pt x="5107" y="1564"/>
                  <a:pt x="5187" y="1565"/>
                </a:cubicBezTo>
                <a:cubicBezTo>
                  <a:pt x="5221" y="1565"/>
                  <a:pt x="5254" y="1569"/>
                  <a:pt x="5287" y="1575"/>
                </a:cubicBezTo>
              </a:path>
              <a:path w="7282" h="4686" extrusionOk="0">
                <a:moveTo>
                  <a:pt x="4456" y="1856"/>
                </a:moveTo>
                <a:cubicBezTo>
                  <a:pt x="4399" y="1865"/>
                  <a:pt x="4491" y="1859"/>
                  <a:pt x="4504" y="1861"/>
                </a:cubicBezTo>
                <a:cubicBezTo>
                  <a:pt x="4555" y="1867"/>
                  <a:pt x="4605" y="1876"/>
                  <a:pt x="4656" y="1883"/>
                </a:cubicBezTo>
                <a:cubicBezTo>
                  <a:pt x="4732" y="1893"/>
                  <a:pt x="4808" y="1897"/>
                  <a:pt x="4884" y="1908"/>
                </a:cubicBezTo>
                <a:cubicBezTo>
                  <a:pt x="4951" y="1918"/>
                  <a:pt x="5018" y="1932"/>
                  <a:pt x="5085" y="1944"/>
                </a:cubicBezTo>
                <a:cubicBezTo>
                  <a:pt x="5095" y="1946"/>
                  <a:pt x="5104" y="1947"/>
                  <a:pt x="5114" y="1949"/>
                </a:cubicBezTo>
              </a:path>
              <a:path w="7282" h="4686" extrusionOk="0">
                <a:moveTo>
                  <a:pt x="4351" y="2187"/>
                </a:moveTo>
                <a:cubicBezTo>
                  <a:pt x="4407" y="2179"/>
                  <a:pt x="4464" y="2160"/>
                  <a:pt x="4522" y="2150"/>
                </a:cubicBezTo>
                <a:cubicBezTo>
                  <a:pt x="4612" y="2135"/>
                  <a:pt x="4699" y="2132"/>
                  <a:pt x="4789" y="2144"/>
                </a:cubicBezTo>
                <a:cubicBezTo>
                  <a:pt x="4861" y="2154"/>
                  <a:pt x="4933" y="2170"/>
                  <a:pt x="5004" y="2184"/>
                </a:cubicBezTo>
              </a:path>
              <a:path w="7282" h="4686" extrusionOk="0">
                <a:moveTo>
                  <a:pt x="6005" y="1474"/>
                </a:moveTo>
                <a:cubicBezTo>
                  <a:pt x="6042" y="1467"/>
                  <a:pt x="6072" y="1477"/>
                  <a:pt x="6110" y="1482"/>
                </a:cubicBezTo>
                <a:cubicBezTo>
                  <a:pt x="6172" y="1489"/>
                  <a:pt x="6235" y="1501"/>
                  <a:pt x="6298" y="1504"/>
                </a:cubicBezTo>
                <a:cubicBezTo>
                  <a:pt x="6360" y="1507"/>
                  <a:pt x="6421" y="1509"/>
                  <a:pt x="6483" y="1510"/>
                </a:cubicBezTo>
                <a:cubicBezTo>
                  <a:pt x="6515" y="1512"/>
                  <a:pt x="6524" y="1513"/>
                  <a:pt x="6545" y="1512"/>
                </a:cubicBezTo>
              </a:path>
              <a:path w="7282" h="4686" extrusionOk="0">
                <a:moveTo>
                  <a:pt x="6068" y="1728"/>
                </a:moveTo>
                <a:cubicBezTo>
                  <a:pt x="6061" y="1725"/>
                  <a:pt x="6054" y="1723"/>
                  <a:pt x="6047" y="1720"/>
                </a:cubicBezTo>
                <a:cubicBezTo>
                  <a:pt x="6080" y="1745"/>
                  <a:pt x="6108" y="1771"/>
                  <a:pt x="6145" y="1790"/>
                </a:cubicBezTo>
                <a:cubicBezTo>
                  <a:pt x="6191" y="1814"/>
                  <a:pt x="6236" y="1822"/>
                  <a:pt x="6287" y="1826"/>
                </a:cubicBezTo>
                <a:cubicBezTo>
                  <a:pt x="6338" y="1830"/>
                  <a:pt x="6387" y="1831"/>
                  <a:pt x="6438" y="1831"/>
                </a:cubicBezTo>
              </a:path>
              <a:path w="7282" h="4686" extrusionOk="0">
                <a:moveTo>
                  <a:pt x="5965" y="1982"/>
                </a:moveTo>
                <a:cubicBezTo>
                  <a:pt x="6001" y="1992"/>
                  <a:pt x="6034" y="1983"/>
                  <a:pt x="6073" y="1982"/>
                </a:cubicBezTo>
                <a:cubicBezTo>
                  <a:pt x="6124" y="1980"/>
                  <a:pt x="6177" y="1983"/>
                  <a:pt x="6228" y="1979"/>
                </a:cubicBezTo>
                <a:cubicBezTo>
                  <a:pt x="6263" y="1976"/>
                  <a:pt x="6297" y="1972"/>
                  <a:pt x="6332" y="1971"/>
                </a:cubicBezTo>
              </a:path>
              <a:path w="7282" h="4686" extrusionOk="0">
                <a:moveTo>
                  <a:pt x="5954" y="2288"/>
                </a:moveTo>
                <a:cubicBezTo>
                  <a:pt x="5934" y="2305"/>
                  <a:pt x="5928" y="2309"/>
                  <a:pt x="5922" y="2326"/>
                </a:cubicBezTo>
                <a:cubicBezTo>
                  <a:pt x="5960" y="2334"/>
                  <a:pt x="5999" y="2336"/>
                  <a:pt x="6038" y="2341"/>
                </a:cubicBezTo>
                <a:cubicBezTo>
                  <a:pt x="6090" y="2347"/>
                  <a:pt x="6144" y="2351"/>
                  <a:pt x="6195" y="2363"/>
                </a:cubicBezTo>
                <a:cubicBezTo>
                  <a:pt x="6225" y="2370"/>
                  <a:pt x="6250" y="2375"/>
                  <a:pt x="6280" y="2378"/>
                </a:cubicBezTo>
              </a:path>
              <a:path w="7282" h="4686" extrusionOk="0">
                <a:moveTo>
                  <a:pt x="2823" y="3852"/>
                </a:moveTo>
                <a:cubicBezTo>
                  <a:pt x="2841" y="3815"/>
                  <a:pt x="2855" y="3811"/>
                  <a:pt x="2895" y="3804"/>
                </a:cubicBezTo>
                <a:cubicBezTo>
                  <a:pt x="2948" y="3795"/>
                  <a:pt x="3002" y="3792"/>
                  <a:pt x="3056" y="3786"/>
                </a:cubicBezTo>
                <a:cubicBezTo>
                  <a:pt x="3133" y="3777"/>
                  <a:pt x="3211" y="3765"/>
                  <a:pt x="3289" y="3759"/>
                </a:cubicBezTo>
                <a:cubicBezTo>
                  <a:pt x="3350" y="3754"/>
                  <a:pt x="3414" y="3741"/>
                  <a:pt x="3474" y="3759"/>
                </a:cubicBezTo>
                <a:cubicBezTo>
                  <a:pt x="3496" y="3770"/>
                  <a:pt x="3502" y="3772"/>
                  <a:pt x="3514" y="3781"/>
                </a:cubicBezTo>
              </a:path>
              <a:path w="7282" h="4686" extrusionOk="0">
                <a:moveTo>
                  <a:pt x="2863" y="4176"/>
                </a:moveTo>
                <a:cubicBezTo>
                  <a:pt x="2856" y="4176"/>
                  <a:pt x="2850" y="4176"/>
                  <a:pt x="2843" y="4176"/>
                </a:cubicBezTo>
                <a:cubicBezTo>
                  <a:pt x="2853" y="4133"/>
                  <a:pt x="2892" y="4112"/>
                  <a:pt x="2933" y="4093"/>
                </a:cubicBezTo>
                <a:cubicBezTo>
                  <a:pt x="2993" y="4065"/>
                  <a:pt x="3063" y="4051"/>
                  <a:pt x="3129" y="4045"/>
                </a:cubicBezTo>
                <a:cubicBezTo>
                  <a:pt x="3189" y="4040"/>
                  <a:pt x="3252" y="4048"/>
                  <a:pt x="3311" y="4057"/>
                </a:cubicBezTo>
                <a:cubicBezTo>
                  <a:pt x="3340" y="4062"/>
                  <a:pt x="3367" y="4067"/>
                  <a:pt x="3396" y="4070"/>
                </a:cubicBezTo>
              </a:path>
              <a:path w="7282" h="4686" extrusionOk="0">
                <a:moveTo>
                  <a:pt x="2949" y="4366"/>
                </a:moveTo>
                <a:cubicBezTo>
                  <a:pt x="2980" y="4362"/>
                  <a:pt x="3010" y="4347"/>
                  <a:pt x="3041" y="4344"/>
                </a:cubicBezTo>
                <a:cubicBezTo>
                  <a:pt x="3084" y="4339"/>
                  <a:pt x="3122" y="4349"/>
                  <a:pt x="3164" y="4357"/>
                </a:cubicBezTo>
                <a:cubicBezTo>
                  <a:pt x="3207" y="4365"/>
                  <a:pt x="3250" y="4375"/>
                  <a:pt x="3294" y="4376"/>
                </a:cubicBezTo>
                <a:cubicBezTo>
                  <a:pt x="3319" y="4376"/>
                  <a:pt x="3340" y="4370"/>
                  <a:pt x="3363" y="4362"/>
                </a:cubicBezTo>
              </a:path>
              <a:path w="7282" h="4686" extrusionOk="0">
                <a:moveTo>
                  <a:pt x="2738" y="4672"/>
                </a:moveTo>
                <a:cubicBezTo>
                  <a:pt x="2707" y="4696"/>
                  <a:pt x="2776" y="4682"/>
                  <a:pt x="2798" y="4680"/>
                </a:cubicBezTo>
                <a:cubicBezTo>
                  <a:pt x="2867" y="4673"/>
                  <a:pt x="2933" y="4655"/>
                  <a:pt x="2998" y="4633"/>
                </a:cubicBezTo>
                <a:cubicBezTo>
                  <a:pt x="3097" y="4600"/>
                  <a:pt x="3195" y="4556"/>
                  <a:pt x="3291" y="4515"/>
                </a:cubicBezTo>
                <a:cubicBezTo>
                  <a:pt x="3361" y="4483"/>
                  <a:pt x="3384" y="4473"/>
                  <a:pt x="3431" y="4454"/>
                </a:cubicBezTo>
              </a:path>
              <a:path w="7282" h="4686" extrusionOk="0">
                <a:moveTo>
                  <a:pt x="270" y="232"/>
                </a:moveTo>
                <a:cubicBezTo>
                  <a:pt x="252" y="213"/>
                  <a:pt x="248" y="208"/>
                  <a:pt x="235" y="186"/>
                </a:cubicBezTo>
                <a:cubicBezTo>
                  <a:pt x="260" y="207"/>
                  <a:pt x="259" y="208"/>
                  <a:pt x="289" y="221"/>
                </a:cubicBezTo>
                <a:cubicBezTo>
                  <a:pt x="409" y="271"/>
                  <a:pt x="552" y="261"/>
                  <a:pt x="679" y="259"/>
                </a:cubicBezTo>
                <a:cubicBezTo>
                  <a:pt x="789" y="257"/>
                  <a:pt x="898" y="248"/>
                  <a:pt x="1008" y="249"/>
                </a:cubicBezTo>
                <a:cubicBezTo>
                  <a:pt x="1079" y="250"/>
                  <a:pt x="1146" y="260"/>
                  <a:pt x="1215" y="274"/>
                </a:cubicBezTo>
                <a:cubicBezTo>
                  <a:pt x="1237" y="279"/>
                  <a:pt x="1312" y="287"/>
                  <a:pt x="1328" y="309"/>
                </a:cubicBezTo>
                <a:cubicBezTo>
                  <a:pt x="1330" y="329"/>
                  <a:pt x="1331" y="335"/>
                  <a:pt x="1323" y="347"/>
                </a:cubicBezTo>
              </a:path>
              <a:path w="7282" h="4686" extrusionOk="0">
                <a:moveTo>
                  <a:pt x="217" y="679"/>
                </a:moveTo>
                <a:cubicBezTo>
                  <a:pt x="221" y="636"/>
                  <a:pt x="230" y="620"/>
                  <a:pt x="280" y="611"/>
                </a:cubicBezTo>
                <a:cubicBezTo>
                  <a:pt x="350" y="599"/>
                  <a:pt x="426" y="598"/>
                  <a:pt x="497" y="595"/>
                </a:cubicBezTo>
                <a:cubicBezTo>
                  <a:pt x="636" y="590"/>
                  <a:pt x="774" y="586"/>
                  <a:pt x="913" y="593"/>
                </a:cubicBezTo>
                <a:cubicBezTo>
                  <a:pt x="1000" y="597"/>
                  <a:pt x="1087" y="604"/>
                  <a:pt x="1173" y="618"/>
                </a:cubicBezTo>
                <a:cubicBezTo>
                  <a:pt x="1188" y="620"/>
                  <a:pt x="1279" y="653"/>
                  <a:pt x="1293" y="644"/>
                </a:cubicBezTo>
                <a:cubicBezTo>
                  <a:pt x="1311" y="649"/>
                  <a:pt x="1314" y="648"/>
                  <a:pt x="1292" y="630"/>
                </a:cubicBezTo>
              </a:path>
              <a:path w="7282" h="4686" extrusionOk="0">
                <a:moveTo>
                  <a:pt x="4049" y="3533"/>
                </a:moveTo>
                <a:cubicBezTo>
                  <a:pt x="4056" y="3514"/>
                  <a:pt x="4057" y="3508"/>
                  <a:pt x="4071" y="3503"/>
                </a:cubicBezTo>
                <a:cubicBezTo>
                  <a:pt x="4075" y="3540"/>
                  <a:pt x="4070" y="3561"/>
                  <a:pt x="4049" y="3593"/>
                </a:cubicBezTo>
                <a:cubicBezTo>
                  <a:pt x="4034" y="3616"/>
                  <a:pt x="4017" y="3637"/>
                  <a:pt x="4007" y="3663"/>
                </a:cubicBezTo>
                <a:cubicBezTo>
                  <a:pt x="3995" y="3694"/>
                  <a:pt x="3974" y="3745"/>
                  <a:pt x="4012" y="3764"/>
                </a:cubicBezTo>
                <a:cubicBezTo>
                  <a:pt x="4049" y="3783"/>
                  <a:pt x="4120" y="3754"/>
                  <a:pt x="4157" y="3749"/>
                </a:cubicBezTo>
                <a:cubicBezTo>
                  <a:pt x="4199" y="3744"/>
                  <a:pt x="4238" y="3751"/>
                  <a:pt x="4279" y="3756"/>
                </a:cubicBezTo>
                <a:cubicBezTo>
                  <a:pt x="4311" y="3759"/>
                  <a:pt x="4344" y="3776"/>
                  <a:pt x="4376" y="3776"/>
                </a:cubicBezTo>
                <a:cubicBezTo>
                  <a:pt x="4383" y="3775"/>
                  <a:pt x="4389" y="3773"/>
                  <a:pt x="4396" y="3772"/>
                </a:cubicBezTo>
              </a:path>
              <a:path w="7282" h="4686" extrusionOk="0">
                <a:moveTo>
                  <a:pt x="2668" y="2955"/>
                </a:moveTo>
                <a:cubicBezTo>
                  <a:pt x="2662" y="3015"/>
                  <a:pt x="2668" y="3074"/>
                  <a:pt x="2671" y="3134"/>
                </a:cubicBezTo>
                <a:cubicBezTo>
                  <a:pt x="2673" y="3175"/>
                  <a:pt x="2674" y="3220"/>
                  <a:pt x="2685" y="3260"/>
                </a:cubicBezTo>
                <a:cubicBezTo>
                  <a:pt x="2692" y="3284"/>
                  <a:pt x="2700" y="3308"/>
                  <a:pt x="2708" y="3332"/>
                </a:cubicBezTo>
              </a:path>
              <a:path w="7282" h="4686" extrusionOk="0">
                <a:moveTo>
                  <a:pt x="2748" y="2832"/>
                </a:moveTo>
                <a:cubicBezTo>
                  <a:pt x="2735" y="2848"/>
                  <a:pt x="2705" y="2893"/>
                  <a:pt x="2683" y="2898"/>
                </a:cubicBezTo>
                <a:cubicBezTo>
                  <a:pt x="2655" y="2904"/>
                  <a:pt x="2634" y="2891"/>
                  <a:pt x="2610" y="2875"/>
                </a:cubicBezTo>
                <a:cubicBezTo>
                  <a:pt x="2553" y="2837"/>
                  <a:pt x="2514" y="2766"/>
                  <a:pt x="2488" y="2705"/>
                </a:cubicBezTo>
                <a:cubicBezTo>
                  <a:pt x="2455" y="2626"/>
                  <a:pt x="2436" y="2533"/>
                  <a:pt x="2465" y="2449"/>
                </a:cubicBezTo>
                <a:cubicBezTo>
                  <a:pt x="2484" y="2393"/>
                  <a:pt x="2531" y="2347"/>
                  <a:pt x="2580" y="2316"/>
                </a:cubicBezTo>
                <a:cubicBezTo>
                  <a:pt x="2650" y="2272"/>
                  <a:pt x="2741" y="2255"/>
                  <a:pt x="2823" y="2253"/>
                </a:cubicBezTo>
                <a:cubicBezTo>
                  <a:pt x="2904" y="2251"/>
                  <a:pt x="2979" y="2274"/>
                  <a:pt x="3051" y="2310"/>
                </a:cubicBezTo>
                <a:cubicBezTo>
                  <a:pt x="3100" y="2334"/>
                  <a:pt x="3145" y="2371"/>
                  <a:pt x="3166" y="2423"/>
                </a:cubicBezTo>
                <a:cubicBezTo>
                  <a:pt x="3183" y="2467"/>
                  <a:pt x="3171" y="2523"/>
                  <a:pt x="3148" y="2562"/>
                </a:cubicBezTo>
                <a:cubicBezTo>
                  <a:pt x="3133" y="2588"/>
                  <a:pt x="3106" y="2600"/>
                  <a:pt x="3089" y="2622"/>
                </a:cubicBezTo>
                <a:cubicBezTo>
                  <a:pt x="3087" y="2627"/>
                  <a:pt x="3086" y="2632"/>
                  <a:pt x="3084" y="2637"/>
                </a:cubicBezTo>
                <a:cubicBezTo>
                  <a:pt x="3119" y="2648"/>
                  <a:pt x="3142" y="2628"/>
                  <a:pt x="3146" y="2677"/>
                </a:cubicBezTo>
                <a:cubicBezTo>
                  <a:pt x="3152" y="2757"/>
                  <a:pt x="3117" y="2850"/>
                  <a:pt x="3109" y="2930"/>
                </a:cubicBezTo>
                <a:cubicBezTo>
                  <a:pt x="3103" y="2989"/>
                  <a:pt x="3121" y="3085"/>
                  <a:pt x="3091" y="3138"/>
                </a:cubicBezTo>
                <a:cubicBezTo>
                  <a:pt x="3072" y="3172"/>
                  <a:pt x="3089" y="3146"/>
                  <a:pt x="3068" y="3123"/>
                </a:cubicBezTo>
              </a:path>
              <a:path w="7282" h="4686" extrusionOk="0">
                <a:moveTo>
                  <a:pt x="2670" y="3172"/>
                </a:moveTo>
                <a:cubicBezTo>
                  <a:pt x="2604" y="3207"/>
                  <a:pt x="2722" y="3150"/>
                  <a:pt x="2731" y="3146"/>
                </a:cubicBezTo>
                <a:cubicBezTo>
                  <a:pt x="2790" y="3122"/>
                  <a:pt x="2849" y="3102"/>
                  <a:pt x="2911" y="3086"/>
                </a:cubicBezTo>
                <a:cubicBezTo>
                  <a:pt x="2961" y="3073"/>
                  <a:pt x="3012" y="3065"/>
                  <a:pt x="3064" y="3063"/>
                </a:cubicBezTo>
                <a:cubicBezTo>
                  <a:pt x="3082" y="3062"/>
                  <a:pt x="3100" y="3062"/>
                  <a:pt x="3118" y="3061"/>
                </a:cubicBezTo>
                <a:cubicBezTo>
                  <a:pt x="3084" y="3075"/>
                  <a:pt x="3051" y="3090"/>
                  <a:pt x="3018" y="3108"/>
                </a:cubicBezTo>
                <a:cubicBezTo>
                  <a:pt x="2967" y="3136"/>
                  <a:pt x="2915" y="3163"/>
                  <a:pt x="2865" y="3191"/>
                </a:cubicBezTo>
                <a:cubicBezTo>
                  <a:pt x="2830" y="3211"/>
                  <a:pt x="2795" y="3233"/>
                  <a:pt x="2756" y="3246"/>
                </a:cubicBezTo>
                <a:cubicBezTo>
                  <a:pt x="2751" y="3247"/>
                  <a:pt x="2746" y="3248"/>
                  <a:pt x="2741" y="3249"/>
                </a:cubicBezTo>
                <a:cubicBezTo>
                  <a:pt x="2771" y="3244"/>
                  <a:pt x="2798" y="3245"/>
                  <a:pt x="2828" y="3244"/>
                </a:cubicBezTo>
                <a:cubicBezTo>
                  <a:pt x="2866" y="3242"/>
                  <a:pt x="2904" y="3241"/>
                  <a:pt x="2941" y="3236"/>
                </a:cubicBezTo>
                <a:cubicBezTo>
                  <a:pt x="2985" y="3230"/>
                  <a:pt x="3029" y="3218"/>
                  <a:pt x="3074" y="3216"/>
                </a:cubicBezTo>
                <a:cubicBezTo>
                  <a:pt x="3079" y="3216"/>
                  <a:pt x="3084" y="3216"/>
                  <a:pt x="3089" y="3216"/>
                </a:cubicBezTo>
                <a:cubicBezTo>
                  <a:pt x="3085" y="3249"/>
                  <a:pt x="3059" y="3260"/>
                  <a:pt x="3029" y="3280"/>
                </a:cubicBezTo>
                <a:cubicBezTo>
                  <a:pt x="2992" y="3304"/>
                  <a:pt x="2953" y="3326"/>
                  <a:pt x="2916" y="3349"/>
                </a:cubicBezTo>
                <a:cubicBezTo>
                  <a:pt x="2899" y="3359"/>
                  <a:pt x="2894" y="3362"/>
                  <a:pt x="2891" y="3375"/>
                </a:cubicBezTo>
                <a:cubicBezTo>
                  <a:pt x="2928" y="3367"/>
                  <a:pt x="2962" y="3355"/>
                  <a:pt x="2998" y="3344"/>
                </a:cubicBezTo>
                <a:cubicBezTo>
                  <a:pt x="3027" y="3335"/>
                  <a:pt x="3049" y="3322"/>
                  <a:pt x="3079" y="3315"/>
                </a:cubicBezTo>
              </a:path>
              <a:path w="7282" h="4686" extrusionOk="0">
                <a:moveTo>
                  <a:pt x="2878" y="3119"/>
                </a:moveTo>
                <a:cubicBezTo>
                  <a:pt x="2897" y="3102"/>
                  <a:pt x="2904" y="3100"/>
                  <a:pt x="2909" y="3064"/>
                </a:cubicBezTo>
                <a:cubicBezTo>
                  <a:pt x="2915" y="3021"/>
                  <a:pt x="2909" y="2978"/>
                  <a:pt x="2900" y="2936"/>
                </a:cubicBezTo>
                <a:cubicBezTo>
                  <a:pt x="2883" y="2859"/>
                  <a:pt x="2854" y="2786"/>
                  <a:pt x="2823" y="2714"/>
                </a:cubicBezTo>
                <a:cubicBezTo>
                  <a:pt x="2796" y="2652"/>
                  <a:pt x="2764" y="2595"/>
                  <a:pt x="2731" y="2536"/>
                </a:cubicBezTo>
                <a:cubicBezTo>
                  <a:pt x="2719" y="2513"/>
                  <a:pt x="2716" y="2507"/>
                  <a:pt x="2711" y="2491"/>
                </a:cubicBezTo>
                <a:cubicBezTo>
                  <a:pt x="2744" y="2505"/>
                  <a:pt x="2760" y="2518"/>
                  <a:pt x="2781" y="2546"/>
                </a:cubicBezTo>
                <a:cubicBezTo>
                  <a:pt x="2806" y="2579"/>
                  <a:pt x="2826" y="2615"/>
                  <a:pt x="2845" y="2652"/>
                </a:cubicBezTo>
                <a:cubicBezTo>
                  <a:pt x="2860" y="2682"/>
                  <a:pt x="2872" y="2716"/>
                  <a:pt x="2890" y="2744"/>
                </a:cubicBezTo>
                <a:cubicBezTo>
                  <a:pt x="2894" y="2749"/>
                  <a:pt x="2899" y="2755"/>
                  <a:pt x="2903" y="2760"/>
                </a:cubicBezTo>
                <a:cubicBezTo>
                  <a:pt x="2915" y="2725"/>
                  <a:pt x="2918" y="2697"/>
                  <a:pt x="2916" y="2659"/>
                </a:cubicBezTo>
                <a:cubicBezTo>
                  <a:pt x="2914" y="2629"/>
                  <a:pt x="2909" y="2598"/>
                  <a:pt x="2904" y="2569"/>
                </a:cubicBezTo>
                <a:cubicBezTo>
                  <a:pt x="2934" y="2597"/>
                  <a:pt x="2954" y="2614"/>
                  <a:pt x="2993" y="2627"/>
                </a:cubicBezTo>
                <a:cubicBezTo>
                  <a:pt x="3022" y="2637"/>
                  <a:pt x="3039" y="2643"/>
                  <a:pt x="3069" y="2632"/>
                </a:cubicBezTo>
                <a:cubicBezTo>
                  <a:pt x="3090" y="2624"/>
                  <a:pt x="3097" y="2621"/>
                  <a:pt x="3109" y="2611"/>
                </a:cubicBezTo>
              </a:path>
              <a:path w="7282" h="4686" extrusionOk="0">
                <a:moveTo>
                  <a:pt x="6302" y="3420"/>
                </a:moveTo>
                <a:cubicBezTo>
                  <a:pt x="6294" y="3400"/>
                  <a:pt x="6288" y="3381"/>
                  <a:pt x="6283" y="3360"/>
                </a:cubicBezTo>
                <a:cubicBezTo>
                  <a:pt x="6301" y="3386"/>
                  <a:pt x="6312" y="3391"/>
                  <a:pt x="6345" y="3393"/>
                </a:cubicBezTo>
                <a:cubicBezTo>
                  <a:pt x="6374" y="3394"/>
                  <a:pt x="6392" y="3391"/>
                  <a:pt x="6417" y="3375"/>
                </a:cubicBezTo>
                <a:cubicBezTo>
                  <a:pt x="6442" y="3359"/>
                  <a:pt x="6468" y="3337"/>
                  <a:pt x="6488" y="3314"/>
                </a:cubicBezTo>
                <a:cubicBezTo>
                  <a:pt x="6510" y="3289"/>
                  <a:pt x="6529" y="3258"/>
                  <a:pt x="6545" y="3229"/>
                </a:cubicBezTo>
                <a:cubicBezTo>
                  <a:pt x="6560" y="3202"/>
                  <a:pt x="6572" y="3154"/>
                  <a:pt x="6605" y="3144"/>
                </a:cubicBezTo>
                <a:cubicBezTo>
                  <a:pt x="6626" y="3138"/>
                  <a:pt x="6665" y="3151"/>
                  <a:pt x="6683" y="3161"/>
                </a:cubicBezTo>
                <a:cubicBezTo>
                  <a:pt x="6714" y="3178"/>
                  <a:pt x="6744" y="3204"/>
                  <a:pt x="6773" y="3224"/>
                </a:cubicBezTo>
                <a:cubicBezTo>
                  <a:pt x="6803" y="3245"/>
                  <a:pt x="6799" y="3277"/>
                  <a:pt x="6815" y="3305"/>
                </a:cubicBezTo>
              </a:path>
              <a:path w="7282" h="4686" extrusionOk="0">
                <a:moveTo>
                  <a:pt x="6693" y="3430"/>
                </a:moveTo>
                <a:cubicBezTo>
                  <a:pt x="6683" y="3392"/>
                  <a:pt x="6703" y="3397"/>
                  <a:pt x="6740" y="3390"/>
                </a:cubicBezTo>
                <a:cubicBezTo>
                  <a:pt x="6771" y="3385"/>
                  <a:pt x="6802" y="3377"/>
                  <a:pt x="6832" y="3369"/>
                </a:cubicBezTo>
                <a:cubicBezTo>
                  <a:pt x="6874" y="3358"/>
                  <a:pt x="6917" y="3350"/>
                  <a:pt x="6960" y="3342"/>
                </a:cubicBezTo>
                <a:cubicBezTo>
                  <a:pt x="7002" y="3335"/>
                  <a:pt x="7036" y="3336"/>
                  <a:pt x="7075" y="3355"/>
                </a:cubicBezTo>
                <a:cubicBezTo>
                  <a:pt x="7090" y="3364"/>
                  <a:pt x="7095" y="3367"/>
                  <a:pt x="7085" y="3380"/>
                </a:cubicBezTo>
              </a:path>
              <a:path w="7282" h="4686" extrusionOk="0">
                <a:moveTo>
                  <a:pt x="6652" y="3510"/>
                </a:moveTo>
                <a:cubicBezTo>
                  <a:pt x="6685" y="3506"/>
                  <a:pt x="6681" y="3529"/>
                  <a:pt x="6688" y="3568"/>
                </a:cubicBezTo>
                <a:cubicBezTo>
                  <a:pt x="6699" y="3627"/>
                  <a:pt x="6711" y="3687"/>
                  <a:pt x="6717" y="3747"/>
                </a:cubicBezTo>
                <a:cubicBezTo>
                  <a:pt x="6725" y="3836"/>
                  <a:pt x="6725" y="3927"/>
                  <a:pt x="6713" y="4015"/>
                </a:cubicBezTo>
                <a:cubicBezTo>
                  <a:pt x="6709" y="4043"/>
                  <a:pt x="6705" y="4072"/>
                  <a:pt x="6702" y="4100"/>
                </a:cubicBezTo>
                <a:cubicBezTo>
                  <a:pt x="6729" y="4111"/>
                  <a:pt x="6752" y="4107"/>
                  <a:pt x="6783" y="4106"/>
                </a:cubicBezTo>
                <a:cubicBezTo>
                  <a:pt x="6821" y="4105"/>
                  <a:pt x="6859" y="4104"/>
                  <a:pt x="6897" y="4101"/>
                </a:cubicBezTo>
                <a:cubicBezTo>
                  <a:pt x="6939" y="4098"/>
                  <a:pt x="6977" y="4089"/>
                  <a:pt x="7018" y="4078"/>
                </a:cubicBezTo>
                <a:cubicBezTo>
                  <a:pt x="7063" y="4066"/>
                  <a:pt x="7089" y="4071"/>
                  <a:pt x="7131" y="4087"/>
                </a:cubicBezTo>
                <a:cubicBezTo>
                  <a:pt x="7125" y="4056"/>
                  <a:pt x="7119" y="4024"/>
                  <a:pt x="7113" y="3992"/>
                </a:cubicBezTo>
                <a:cubicBezTo>
                  <a:pt x="7086" y="3854"/>
                  <a:pt x="7067" y="3713"/>
                  <a:pt x="7053" y="3573"/>
                </a:cubicBezTo>
                <a:cubicBezTo>
                  <a:pt x="7047" y="3514"/>
                  <a:pt x="7042" y="3454"/>
                  <a:pt x="7040" y="3395"/>
                </a:cubicBezTo>
                <a:cubicBezTo>
                  <a:pt x="7040" y="3375"/>
                  <a:pt x="7040" y="3368"/>
                  <a:pt x="7038" y="3355"/>
                </a:cubicBezTo>
              </a:path>
              <a:path w="7282" h="4686" extrusionOk="0">
                <a:moveTo>
                  <a:pt x="5572" y="1520"/>
                </a:moveTo>
                <a:cubicBezTo>
                  <a:pt x="5597" y="1496"/>
                  <a:pt x="5620" y="1476"/>
                  <a:pt x="5650" y="1456"/>
                </a:cubicBezTo>
                <a:cubicBezTo>
                  <a:pt x="5683" y="1434"/>
                  <a:pt x="5718" y="1414"/>
                  <a:pt x="5752" y="1394"/>
                </a:cubicBezTo>
                <a:cubicBezTo>
                  <a:pt x="5803" y="1364"/>
                  <a:pt x="5854" y="1333"/>
                  <a:pt x="5907" y="1306"/>
                </a:cubicBezTo>
                <a:cubicBezTo>
                  <a:pt x="5996" y="1261"/>
                  <a:pt x="6091" y="1227"/>
                  <a:pt x="6187" y="1200"/>
                </a:cubicBezTo>
                <a:cubicBezTo>
                  <a:pt x="6367" y="1150"/>
                  <a:pt x="6607" y="1096"/>
                  <a:pt x="6783" y="1188"/>
                </a:cubicBezTo>
                <a:cubicBezTo>
                  <a:pt x="6825" y="1210"/>
                  <a:pt x="6860" y="1243"/>
                  <a:pt x="6890" y="1279"/>
                </a:cubicBezTo>
                <a:cubicBezTo>
                  <a:pt x="6914" y="1308"/>
                  <a:pt x="6936" y="1338"/>
                  <a:pt x="6962" y="1366"/>
                </a:cubicBezTo>
                <a:cubicBezTo>
                  <a:pt x="6987" y="1393"/>
                  <a:pt x="7003" y="1407"/>
                  <a:pt x="7011" y="1441"/>
                </a:cubicBezTo>
                <a:cubicBezTo>
                  <a:pt x="7011" y="1446"/>
                  <a:pt x="7010" y="1452"/>
                  <a:pt x="7010" y="1457"/>
                </a:cubicBezTo>
              </a:path>
              <a:path w="7282" h="4686" extrusionOk="0">
                <a:moveTo>
                  <a:pt x="5684" y="1903"/>
                </a:moveTo>
                <a:cubicBezTo>
                  <a:pt x="5698" y="1875"/>
                  <a:pt x="5705" y="1850"/>
                  <a:pt x="5724" y="1825"/>
                </a:cubicBezTo>
                <a:cubicBezTo>
                  <a:pt x="5745" y="1797"/>
                  <a:pt x="5771" y="1782"/>
                  <a:pt x="5802" y="1766"/>
                </a:cubicBezTo>
                <a:cubicBezTo>
                  <a:pt x="5869" y="1732"/>
                  <a:pt x="5939" y="1702"/>
                  <a:pt x="6007" y="1670"/>
                </a:cubicBezTo>
                <a:cubicBezTo>
                  <a:pt x="6145" y="1605"/>
                  <a:pt x="6301" y="1516"/>
                  <a:pt x="6457" y="1510"/>
                </a:cubicBezTo>
                <a:cubicBezTo>
                  <a:pt x="6517" y="1508"/>
                  <a:pt x="6582" y="1533"/>
                  <a:pt x="6625" y="1575"/>
                </a:cubicBezTo>
                <a:cubicBezTo>
                  <a:pt x="6686" y="1635"/>
                  <a:pt x="6717" y="1706"/>
                  <a:pt x="6795" y="1748"/>
                </a:cubicBezTo>
                <a:cubicBezTo>
                  <a:pt x="6821" y="1762"/>
                  <a:pt x="6850" y="1768"/>
                  <a:pt x="6878" y="1778"/>
                </a:cubicBezTo>
                <a:cubicBezTo>
                  <a:pt x="6937" y="1799"/>
                  <a:pt x="6850" y="1753"/>
                  <a:pt x="6843" y="1748"/>
                </a:cubicBezTo>
              </a:path>
              <a:path w="7282" h="4686" extrusionOk="0">
                <a:moveTo>
                  <a:pt x="6950" y="1426"/>
                </a:moveTo>
                <a:cubicBezTo>
                  <a:pt x="6978" y="1399"/>
                  <a:pt x="6946" y="1453"/>
                  <a:pt x="6948" y="1485"/>
                </a:cubicBezTo>
                <a:cubicBezTo>
                  <a:pt x="6951" y="1538"/>
                  <a:pt x="6956" y="1592"/>
                  <a:pt x="6957" y="1645"/>
                </a:cubicBezTo>
                <a:cubicBezTo>
                  <a:pt x="6958" y="1705"/>
                  <a:pt x="6952" y="1765"/>
                  <a:pt x="6950" y="1825"/>
                </a:cubicBezTo>
                <a:cubicBezTo>
                  <a:pt x="6949" y="1854"/>
                  <a:pt x="6947" y="1856"/>
                  <a:pt x="6960" y="1879"/>
                </a:cubicBezTo>
                <a:cubicBezTo>
                  <a:pt x="6962" y="1860"/>
                  <a:pt x="6963" y="1852"/>
                  <a:pt x="6958" y="1839"/>
                </a:cubicBezTo>
              </a:path>
              <a:path w="7282" h="4686" extrusionOk="0">
                <a:moveTo>
                  <a:pt x="6968" y="1721"/>
                </a:moveTo>
                <a:cubicBezTo>
                  <a:pt x="6995" y="1752"/>
                  <a:pt x="7009" y="1752"/>
                  <a:pt x="7050" y="1743"/>
                </a:cubicBezTo>
                <a:cubicBezTo>
                  <a:pt x="7088" y="1734"/>
                  <a:pt x="7122" y="1717"/>
                  <a:pt x="7156" y="1700"/>
                </a:cubicBezTo>
                <a:cubicBezTo>
                  <a:pt x="7172" y="1692"/>
                  <a:pt x="7213" y="1664"/>
                  <a:pt x="7233" y="1672"/>
                </a:cubicBezTo>
                <a:cubicBezTo>
                  <a:pt x="7251" y="1679"/>
                  <a:pt x="7262" y="1695"/>
                  <a:pt x="7281" y="1702"/>
                </a:cubicBezTo>
                <a:cubicBezTo>
                  <a:pt x="7254" y="1729"/>
                  <a:pt x="7225" y="1753"/>
                  <a:pt x="7195" y="1778"/>
                </a:cubicBezTo>
                <a:cubicBezTo>
                  <a:pt x="7164" y="1804"/>
                  <a:pt x="7134" y="1831"/>
                  <a:pt x="7103" y="1856"/>
                </a:cubicBezTo>
                <a:cubicBezTo>
                  <a:pt x="7087" y="1869"/>
                  <a:pt x="7081" y="1873"/>
                  <a:pt x="7071" y="1883"/>
                </a:cubicBezTo>
                <a:cubicBezTo>
                  <a:pt x="7098" y="1896"/>
                  <a:pt x="7125" y="1901"/>
                  <a:pt x="7153" y="1911"/>
                </a:cubicBezTo>
                <a:cubicBezTo>
                  <a:pt x="7184" y="1922"/>
                  <a:pt x="7212" y="1937"/>
                  <a:pt x="7205" y="1976"/>
                </a:cubicBezTo>
                <a:cubicBezTo>
                  <a:pt x="7198" y="2012"/>
                  <a:pt x="7167" y="2033"/>
                  <a:pt x="7138" y="2051"/>
                </a:cubicBezTo>
                <a:cubicBezTo>
                  <a:pt x="7111" y="2068"/>
                  <a:pt x="7085" y="2086"/>
                  <a:pt x="7063" y="2110"/>
                </a:cubicBezTo>
                <a:cubicBezTo>
                  <a:pt x="7044" y="2131"/>
                  <a:pt x="7035" y="2152"/>
                  <a:pt x="7030" y="2179"/>
                </a:cubicBezTo>
                <a:cubicBezTo>
                  <a:pt x="7000" y="2168"/>
                  <a:pt x="6984" y="2165"/>
                  <a:pt x="6953" y="2177"/>
                </a:cubicBezTo>
                <a:cubicBezTo>
                  <a:pt x="6948" y="2179"/>
                  <a:pt x="6943" y="2182"/>
                  <a:pt x="6938" y="2184"/>
                </a:cubicBezTo>
                <a:cubicBezTo>
                  <a:pt x="6927" y="2114"/>
                  <a:pt x="6932" y="2042"/>
                  <a:pt x="6922" y="1972"/>
                </a:cubicBezTo>
              </a:path>
              <a:path w="7282" h="4686" extrusionOk="0">
                <a:moveTo>
                  <a:pt x="5522" y="1569"/>
                </a:moveTo>
                <a:cubicBezTo>
                  <a:pt x="5529" y="1525"/>
                  <a:pt x="5541" y="1492"/>
                  <a:pt x="5564" y="1454"/>
                </a:cubicBezTo>
                <a:cubicBezTo>
                  <a:pt x="5569" y="1488"/>
                  <a:pt x="5568" y="1524"/>
                  <a:pt x="5567" y="1559"/>
                </a:cubicBezTo>
                <a:cubicBezTo>
                  <a:pt x="5566" y="1621"/>
                  <a:pt x="5565" y="1683"/>
                  <a:pt x="5567" y="1745"/>
                </a:cubicBezTo>
                <a:cubicBezTo>
                  <a:pt x="5569" y="1827"/>
                  <a:pt x="5571" y="1910"/>
                  <a:pt x="5572" y="1992"/>
                </a:cubicBezTo>
                <a:cubicBezTo>
                  <a:pt x="5573" y="2049"/>
                  <a:pt x="5573" y="2105"/>
                  <a:pt x="5574" y="2162"/>
                </a:cubicBezTo>
                <a:cubicBezTo>
                  <a:pt x="5575" y="2219"/>
                  <a:pt x="5591" y="2183"/>
                  <a:pt x="5594" y="2149"/>
                </a:cubicBezTo>
                <a:cubicBezTo>
                  <a:pt x="5593" y="2140"/>
                  <a:pt x="5593" y="2131"/>
                  <a:pt x="5592" y="2122"/>
                </a:cubicBezTo>
              </a:path>
              <a:path w="7282" h="4686" extrusionOk="0">
                <a:moveTo>
                  <a:pt x="5584" y="1781"/>
                </a:moveTo>
                <a:cubicBezTo>
                  <a:pt x="5581" y="1807"/>
                  <a:pt x="5578" y="1803"/>
                  <a:pt x="5607" y="1803"/>
                </a:cubicBezTo>
                <a:cubicBezTo>
                  <a:pt x="5579" y="1815"/>
                  <a:pt x="5562" y="1812"/>
                  <a:pt x="5532" y="1813"/>
                </a:cubicBezTo>
                <a:cubicBezTo>
                  <a:pt x="5488" y="1815"/>
                  <a:pt x="5444" y="1814"/>
                  <a:pt x="5400" y="1820"/>
                </a:cubicBezTo>
                <a:cubicBezTo>
                  <a:pt x="5370" y="1824"/>
                  <a:pt x="5334" y="1827"/>
                  <a:pt x="5305" y="1836"/>
                </a:cubicBezTo>
                <a:cubicBezTo>
                  <a:pt x="5298" y="1839"/>
                  <a:pt x="5291" y="1841"/>
                  <a:pt x="5284" y="1844"/>
                </a:cubicBezTo>
                <a:cubicBezTo>
                  <a:pt x="5309" y="1866"/>
                  <a:pt x="5335" y="1882"/>
                  <a:pt x="5362" y="1901"/>
                </a:cubicBezTo>
                <a:cubicBezTo>
                  <a:pt x="5387" y="1919"/>
                  <a:pt x="5412" y="1941"/>
                  <a:pt x="5435" y="1962"/>
                </a:cubicBezTo>
                <a:cubicBezTo>
                  <a:pt x="5458" y="1984"/>
                  <a:pt x="5482" y="2004"/>
                  <a:pt x="5504" y="2027"/>
                </a:cubicBezTo>
                <a:cubicBezTo>
                  <a:pt x="5473" y="2035"/>
                  <a:pt x="5443" y="2044"/>
                  <a:pt x="5412" y="2047"/>
                </a:cubicBezTo>
                <a:cubicBezTo>
                  <a:pt x="5355" y="2053"/>
                  <a:pt x="5270" y="2043"/>
                  <a:pt x="5224" y="2085"/>
                </a:cubicBezTo>
                <a:cubicBezTo>
                  <a:pt x="5209" y="2105"/>
                  <a:pt x="5204" y="2109"/>
                  <a:pt x="5200" y="2125"/>
                </a:cubicBezTo>
                <a:cubicBezTo>
                  <a:pt x="5222" y="2150"/>
                  <a:pt x="5239" y="2160"/>
                  <a:pt x="5270" y="2172"/>
                </a:cubicBezTo>
                <a:cubicBezTo>
                  <a:pt x="5321" y="2192"/>
                  <a:pt x="5370" y="2216"/>
                  <a:pt x="5422" y="2232"/>
                </a:cubicBezTo>
                <a:cubicBezTo>
                  <a:pt x="5444" y="2239"/>
                  <a:pt x="5465" y="2242"/>
                  <a:pt x="5487" y="2237"/>
                </a:cubicBezTo>
                <a:cubicBezTo>
                  <a:pt x="5523" y="2229"/>
                  <a:pt x="5536" y="2223"/>
                  <a:pt x="5567" y="2242"/>
                </a:cubicBezTo>
                <a:cubicBezTo>
                  <a:pt x="5588" y="2255"/>
                  <a:pt x="5605" y="2267"/>
                  <a:pt x="5627" y="2278"/>
                </a:cubicBezTo>
              </a:path>
              <a:path w="7282" h="4686" extrusionOk="0">
                <a:moveTo>
                  <a:pt x="3699" y="1349"/>
                </a:moveTo>
                <a:cubicBezTo>
                  <a:pt x="3666" y="1314"/>
                  <a:pt x="3658" y="1342"/>
                  <a:pt x="3638" y="1376"/>
                </a:cubicBezTo>
                <a:cubicBezTo>
                  <a:pt x="3612" y="1421"/>
                  <a:pt x="3604" y="1467"/>
                  <a:pt x="3603" y="1519"/>
                </a:cubicBezTo>
                <a:cubicBezTo>
                  <a:pt x="3601" y="1583"/>
                  <a:pt x="3615" y="1645"/>
                  <a:pt x="3653" y="1697"/>
                </a:cubicBezTo>
                <a:cubicBezTo>
                  <a:pt x="3690" y="1748"/>
                  <a:pt x="3749" y="1770"/>
                  <a:pt x="3811" y="1761"/>
                </a:cubicBezTo>
                <a:cubicBezTo>
                  <a:pt x="3882" y="1751"/>
                  <a:pt x="3939" y="1697"/>
                  <a:pt x="3981" y="1643"/>
                </a:cubicBezTo>
                <a:cubicBezTo>
                  <a:pt x="4020" y="1593"/>
                  <a:pt x="4052" y="1526"/>
                  <a:pt x="4041" y="1461"/>
                </a:cubicBezTo>
                <a:cubicBezTo>
                  <a:pt x="4030" y="1394"/>
                  <a:pt x="3972" y="1362"/>
                  <a:pt x="3913" y="1344"/>
                </a:cubicBezTo>
                <a:cubicBezTo>
                  <a:pt x="3853" y="1325"/>
                  <a:pt x="3771" y="1318"/>
                  <a:pt x="3709" y="1334"/>
                </a:cubicBezTo>
                <a:cubicBezTo>
                  <a:pt x="3649" y="1349"/>
                  <a:pt x="3726" y="1374"/>
                  <a:pt x="3734" y="1377"/>
                </a:cubicBezTo>
              </a:path>
              <a:path w="7282" h="4686" extrusionOk="0">
                <a:moveTo>
                  <a:pt x="3967" y="1810"/>
                </a:moveTo>
                <a:cubicBezTo>
                  <a:pt x="3951" y="1849"/>
                  <a:pt x="3947" y="1871"/>
                  <a:pt x="3962" y="1911"/>
                </a:cubicBezTo>
                <a:cubicBezTo>
                  <a:pt x="3972" y="1939"/>
                  <a:pt x="3988" y="1964"/>
                  <a:pt x="4016" y="1976"/>
                </a:cubicBezTo>
                <a:cubicBezTo>
                  <a:pt x="4044" y="1988"/>
                  <a:pt x="4074" y="1976"/>
                  <a:pt x="4097" y="1959"/>
                </a:cubicBezTo>
                <a:cubicBezTo>
                  <a:pt x="4131" y="1933"/>
                  <a:pt x="4147" y="1904"/>
                  <a:pt x="4116" y="1869"/>
                </a:cubicBezTo>
                <a:cubicBezTo>
                  <a:pt x="4099" y="1850"/>
                  <a:pt x="4066" y="1830"/>
                  <a:pt x="4044" y="1818"/>
                </a:cubicBezTo>
                <a:cubicBezTo>
                  <a:pt x="4018" y="1804"/>
                  <a:pt x="4002" y="1798"/>
                  <a:pt x="3974" y="1800"/>
                </a:cubicBezTo>
              </a:path>
              <a:path w="7282" h="4686" extrusionOk="0">
                <a:moveTo>
                  <a:pt x="3674" y="1956"/>
                </a:moveTo>
                <a:cubicBezTo>
                  <a:pt x="3642" y="1987"/>
                  <a:pt x="3624" y="2003"/>
                  <a:pt x="3633" y="2051"/>
                </a:cubicBezTo>
                <a:cubicBezTo>
                  <a:pt x="3638" y="2076"/>
                  <a:pt x="3653" y="2103"/>
                  <a:pt x="3676" y="2115"/>
                </a:cubicBezTo>
                <a:cubicBezTo>
                  <a:pt x="3712" y="2134"/>
                  <a:pt x="3751" y="2114"/>
                  <a:pt x="3783" y="2095"/>
                </a:cubicBezTo>
                <a:cubicBezTo>
                  <a:pt x="3828" y="2068"/>
                  <a:pt x="3890" y="2021"/>
                  <a:pt x="3903" y="1966"/>
                </a:cubicBezTo>
                <a:cubicBezTo>
                  <a:pt x="3913" y="1924"/>
                  <a:pt x="3885" y="1894"/>
                  <a:pt x="3849" y="1879"/>
                </a:cubicBezTo>
                <a:cubicBezTo>
                  <a:pt x="3805" y="1861"/>
                  <a:pt x="3735" y="1854"/>
                  <a:pt x="3689" y="1869"/>
                </a:cubicBezTo>
                <a:cubicBezTo>
                  <a:pt x="3600" y="1898"/>
                  <a:pt x="3739" y="1888"/>
                  <a:pt x="3749" y="1886"/>
                </a:cubicBezTo>
              </a:path>
              <a:path w="7282" h="4686" extrusionOk="0">
                <a:moveTo>
                  <a:pt x="4955" y="2910"/>
                </a:moveTo>
                <a:cubicBezTo>
                  <a:pt x="4984" y="2903"/>
                  <a:pt x="4979" y="2908"/>
                  <a:pt x="5009" y="2910"/>
                </a:cubicBezTo>
                <a:cubicBezTo>
                  <a:pt x="5051" y="2914"/>
                  <a:pt x="5092" y="2924"/>
                  <a:pt x="5134" y="2928"/>
                </a:cubicBezTo>
                <a:cubicBezTo>
                  <a:pt x="5184" y="2933"/>
                  <a:pt x="5232" y="2938"/>
                  <a:pt x="5282" y="2938"/>
                </a:cubicBezTo>
                <a:cubicBezTo>
                  <a:pt x="5317" y="2938"/>
                  <a:pt x="5350" y="2936"/>
                  <a:pt x="5384" y="2931"/>
                </a:cubicBezTo>
                <a:cubicBezTo>
                  <a:pt x="5399" y="2930"/>
                  <a:pt x="5405" y="2930"/>
                  <a:pt x="5414" y="2925"/>
                </a:cubicBezTo>
                <a:cubicBezTo>
                  <a:pt x="5392" y="2896"/>
                  <a:pt x="5382" y="2891"/>
                  <a:pt x="5374" y="2853"/>
                </a:cubicBezTo>
                <a:cubicBezTo>
                  <a:pt x="5357" y="2773"/>
                  <a:pt x="5363" y="2685"/>
                  <a:pt x="5367" y="2604"/>
                </a:cubicBezTo>
                <a:cubicBezTo>
                  <a:pt x="5367" y="2586"/>
                  <a:pt x="5367" y="2581"/>
                  <a:pt x="5369" y="2569"/>
                </a:cubicBezTo>
                <a:cubicBezTo>
                  <a:pt x="5383" y="2600"/>
                  <a:pt x="5396" y="2627"/>
                  <a:pt x="5415" y="2656"/>
                </a:cubicBezTo>
                <a:cubicBezTo>
                  <a:pt x="5458" y="2722"/>
                  <a:pt x="5508" y="2783"/>
                  <a:pt x="5549" y="2850"/>
                </a:cubicBezTo>
                <a:cubicBezTo>
                  <a:pt x="5574" y="2891"/>
                  <a:pt x="5593" y="2934"/>
                  <a:pt x="5615" y="2976"/>
                </a:cubicBezTo>
                <a:cubicBezTo>
                  <a:pt x="5631" y="3007"/>
                  <a:pt x="5651" y="3044"/>
                  <a:pt x="5679" y="3066"/>
                </a:cubicBezTo>
                <a:cubicBezTo>
                  <a:pt x="5705" y="3086"/>
                  <a:pt x="5731" y="3101"/>
                  <a:pt x="5764" y="3104"/>
                </a:cubicBezTo>
                <a:cubicBezTo>
                  <a:pt x="5810" y="3108"/>
                  <a:pt x="5805" y="3083"/>
                  <a:pt x="5822" y="3064"/>
                </a:cubicBezTo>
                <a:cubicBezTo>
                  <a:pt x="5773" y="3059"/>
                  <a:pt x="5752" y="3060"/>
                  <a:pt x="5704" y="3086"/>
                </a:cubicBezTo>
                <a:cubicBezTo>
                  <a:pt x="5592" y="3145"/>
                  <a:pt x="5500" y="3234"/>
                  <a:pt x="5404" y="3315"/>
                </a:cubicBezTo>
                <a:cubicBezTo>
                  <a:pt x="5385" y="3331"/>
                  <a:pt x="5340" y="3360"/>
                  <a:pt x="5340" y="3388"/>
                </a:cubicBezTo>
                <a:cubicBezTo>
                  <a:pt x="5337" y="3405"/>
                  <a:pt x="5336" y="3411"/>
                  <a:pt x="5352" y="3413"/>
                </a:cubicBezTo>
                <a:cubicBezTo>
                  <a:pt x="5363" y="3385"/>
                  <a:pt x="5382" y="3356"/>
                  <a:pt x="5389" y="3327"/>
                </a:cubicBezTo>
                <a:cubicBezTo>
                  <a:pt x="5395" y="3305"/>
                  <a:pt x="5402" y="3270"/>
                  <a:pt x="5400" y="3247"/>
                </a:cubicBezTo>
                <a:cubicBezTo>
                  <a:pt x="5396" y="3202"/>
                  <a:pt x="5395" y="3218"/>
                  <a:pt x="5415" y="3182"/>
                </a:cubicBezTo>
                <a:cubicBezTo>
                  <a:pt x="5391" y="3182"/>
                  <a:pt x="5363" y="3180"/>
                  <a:pt x="5337" y="3182"/>
                </a:cubicBezTo>
                <a:cubicBezTo>
                  <a:pt x="5300" y="3184"/>
                  <a:pt x="5274" y="3195"/>
                  <a:pt x="5240" y="3209"/>
                </a:cubicBezTo>
                <a:cubicBezTo>
                  <a:pt x="5210" y="3222"/>
                  <a:pt x="5185" y="3242"/>
                  <a:pt x="5157" y="3256"/>
                </a:cubicBezTo>
                <a:cubicBezTo>
                  <a:pt x="5150" y="3259"/>
                  <a:pt x="5142" y="3261"/>
                  <a:pt x="5135" y="3264"/>
                </a:cubicBezTo>
                <a:cubicBezTo>
                  <a:pt x="5153" y="3249"/>
                  <a:pt x="5164" y="3234"/>
                  <a:pt x="5199" y="3221"/>
                </a:cubicBezTo>
              </a:path>
              <a:path w="7282" h="4686" extrusionOk="0">
                <a:moveTo>
                  <a:pt x="1502" y="3448"/>
                </a:moveTo>
                <a:cubicBezTo>
                  <a:pt x="1536" y="3442"/>
                  <a:pt x="1510" y="3427"/>
                  <a:pt x="1573" y="3465"/>
                </a:cubicBezTo>
                <a:cubicBezTo>
                  <a:pt x="1725" y="3555"/>
                  <a:pt x="1868" y="3669"/>
                  <a:pt x="1983" y="3804"/>
                </a:cubicBezTo>
                <a:cubicBezTo>
                  <a:pt x="2049" y="3881"/>
                  <a:pt x="2094" y="3972"/>
                  <a:pt x="2116" y="4070"/>
                </a:cubicBezTo>
                <a:cubicBezTo>
                  <a:pt x="2134" y="4148"/>
                  <a:pt x="2125" y="4217"/>
                  <a:pt x="2116" y="4294"/>
                </a:cubicBezTo>
                <a:cubicBezTo>
                  <a:pt x="2105" y="4384"/>
                  <a:pt x="2088" y="4330"/>
                  <a:pt x="2080" y="4276"/>
                </a:cubicBezTo>
              </a:path>
              <a:path w="7282" h="4686" extrusionOk="0">
                <a:moveTo>
                  <a:pt x="1966" y="3212"/>
                </a:moveTo>
                <a:cubicBezTo>
                  <a:pt x="1955" y="3196"/>
                  <a:pt x="1951" y="3190"/>
                  <a:pt x="1936" y="3189"/>
                </a:cubicBezTo>
                <a:cubicBezTo>
                  <a:pt x="1964" y="3213"/>
                  <a:pt x="1973" y="3215"/>
                  <a:pt x="2006" y="3232"/>
                </a:cubicBezTo>
                <a:cubicBezTo>
                  <a:pt x="2113" y="3288"/>
                  <a:pt x="2208" y="3366"/>
                  <a:pt x="2300" y="3445"/>
                </a:cubicBezTo>
                <a:cubicBezTo>
                  <a:pt x="2387" y="3520"/>
                  <a:pt x="2478" y="3610"/>
                  <a:pt x="2531" y="3713"/>
                </a:cubicBezTo>
                <a:cubicBezTo>
                  <a:pt x="2554" y="3757"/>
                  <a:pt x="2571" y="3820"/>
                  <a:pt x="2553" y="3869"/>
                </a:cubicBezTo>
                <a:cubicBezTo>
                  <a:pt x="2540" y="3904"/>
                  <a:pt x="2520" y="3897"/>
                  <a:pt x="2490" y="3897"/>
                </a:cubicBezTo>
              </a:path>
              <a:path w="7282" h="4686" extrusionOk="0">
                <a:moveTo>
                  <a:pt x="2160" y="2742"/>
                </a:moveTo>
                <a:cubicBezTo>
                  <a:pt x="2140" y="2736"/>
                  <a:pt x="2127" y="2735"/>
                  <a:pt x="2108" y="2732"/>
                </a:cubicBezTo>
                <a:cubicBezTo>
                  <a:pt x="2156" y="2746"/>
                  <a:pt x="2203" y="2761"/>
                  <a:pt x="2251" y="2774"/>
                </a:cubicBezTo>
                <a:cubicBezTo>
                  <a:pt x="2396" y="2814"/>
                  <a:pt x="2570" y="2849"/>
                  <a:pt x="2690" y="2945"/>
                </a:cubicBezTo>
                <a:cubicBezTo>
                  <a:pt x="2777" y="3015"/>
                  <a:pt x="2800" y="3113"/>
                  <a:pt x="2793" y="3221"/>
                </a:cubicBezTo>
                <a:cubicBezTo>
                  <a:pt x="2786" y="3329"/>
                  <a:pt x="2747" y="3429"/>
                  <a:pt x="2713" y="3530"/>
                </a:cubicBezTo>
              </a:path>
              <a:path w="7282" h="4686" extrusionOk="0">
                <a:moveTo>
                  <a:pt x="437" y="2024"/>
                </a:moveTo>
                <a:cubicBezTo>
                  <a:pt x="407" y="2021"/>
                  <a:pt x="397" y="1997"/>
                  <a:pt x="362" y="2036"/>
                </a:cubicBezTo>
                <a:cubicBezTo>
                  <a:pt x="322" y="2081"/>
                  <a:pt x="303" y="2150"/>
                  <a:pt x="294" y="2208"/>
                </a:cubicBezTo>
                <a:cubicBezTo>
                  <a:pt x="279" y="2305"/>
                  <a:pt x="283" y="2408"/>
                  <a:pt x="305" y="2504"/>
                </a:cubicBezTo>
                <a:cubicBezTo>
                  <a:pt x="329" y="2610"/>
                  <a:pt x="377" y="2718"/>
                  <a:pt x="450" y="2800"/>
                </a:cubicBezTo>
                <a:cubicBezTo>
                  <a:pt x="514" y="2872"/>
                  <a:pt x="595" y="2918"/>
                  <a:pt x="687" y="2941"/>
                </a:cubicBezTo>
                <a:cubicBezTo>
                  <a:pt x="746" y="2956"/>
                  <a:pt x="812" y="2960"/>
                  <a:pt x="872" y="2950"/>
                </a:cubicBezTo>
                <a:cubicBezTo>
                  <a:pt x="908" y="2944"/>
                  <a:pt x="929" y="2940"/>
                  <a:pt x="915" y="2898"/>
                </a:cubicBezTo>
                <a:cubicBezTo>
                  <a:pt x="906" y="2877"/>
                  <a:pt x="901" y="2868"/>
                  <a:pt x="892" y="2855"/>
                </a:cubicBezTo>
              </a:path>
              <a:path w="7282" h="4686" extrusionOk="0">
                <a:moveTo>
                  <a:pt x="509" y="1992"/>
                </a:moveTo>
                <a:cubicBezTo>
                  <a:pt x="478" y="2007"/>
                  <a:pt x="442" y="2018"/>
                  <a:pt x="415" y="2046"/>
                </a:cubicBezTo>
                <a:cubicBezTo>
                  <a:pt x="371" y="2091"/>
                  <a:pt x="326" y="2142"/>
                  <a:pt x="292" y="2197"/>
                </a:cubicBezTo>
                <a:cubicBezTo>
                  <a:pt x="240" y="2282"/>
                  <a:pt x="201" y="2374"/>
                  <a:pt x="179" y="2471"/>
                </a:cubicBezTo>
                <a:cubicBezTo>
                  <a:pt x="140" y="2646"/>
                  <a:pt x="142" y="2859"/>
                  <a:pt x="234" y="3018"/>
                </a:cubicBezTo>
                <a:cubicBezTo>
                  <a:pt x="296" y="3125"/>
                  <a:pt x="415" y="3188"/>
                  <a:pt x="537" y="3189"/>
                </a:cubicBezTo>
                <a:cubicBezTo>
                  <a:pt x="618" y="3189"/>
                  <a:pt x="696" y="3162"/>
                  <a:pt x="770" y="3131"/>
                </a:cubicBezTo>
                <a:cubicBezTo>
                  <a:pt x="804" y="3117"/>
                  <a:pt x="850" y="3072"/>
                  <a:pt x="880" y="3063"/>
                </a:cubicBezTo>
                <a:cubicBezTo>
                  <a:pt x="896" y="3063"/>
                  <a:pt x="902" y="3063"/>
                  <a:pt x="913" y="3066"/>
                </a:cubicBezTo>
              </a:path>
              <a:path w="7282" h="4686" extrusionOk="0">
                <a:moveTo>
                  <a:pt x="962" y="2916"/>
                </a:moveTo>
                <a:cubicBezTo>
                  <a:pt x="922" y="2933"/>
                  <a:pt x="890" y="2960"/>
                  <a:pt x="868" y="3000"/>
                </a:cubicBezTo>
                <a:cubicBezTo>
                  <a:pt x="841" y="3050"/>
                  <a:pt x="816" y="3114"/>
                  <a:pt x="822" y="3172"/>
                </a:cubicBezTo>
                <a:cubicBezTo>
                  <a:pt x="834" y="3280"/>
                  <a:pt x="933" y="3318"/>
                  <a:pt x="1025" y="3345"/>
                </a:cubicBezTo>
                <a:cubicBezTo>
                  <a:pt x="1137" y="3378"/>
                  <a:pt x="1256" y="3389"/>
                  <a:pt x="1372" y="3398"/>
                </a:cubicBezTo>
                <a:cubicBezTo>
                  <a:pt x="1473" y="3406"/>
                  <a:pt x="1581" y="3412"/>
                  <a:pt x="1678" y="3378"/>
                </a:cubicBezTo>
                <a:cubicBezTo>
                  <a:pt x="1781" y="3342"/>
                  <a:pt x="1838" y="3243"/>
                  <a:pt x="1860" y="3141"/>
                </a:cubicBezTo>
                <a:cubicBezTo>
                  <a:pt x="1873" y="3082"/>
                  <a:pt x="1871" y="3007"/>
                  <a:pt x="1837" y="2955"/>
                </a:cubicBezTo>
                <a:cubicBezTo>
                  <a:pt x="1816" y="2922"/>
                  <a:pt x="1806" y="2937"/>
                  <a:pt x="1780" y="2931"/>
                </a:cubicBezTo>
                <a:cubicBezTo>
                  <a:pt x="1798" y="2952"/>
                  <a:pt x="1815" y="2975"/>
                  <a:pt x="1837" y="2996"/>
                </a:cubicBezTo>
              </a:path>
              <a:path w="7282" h="4686" extrusionOk="0">
                <a:moveTo>
                  <a:pt x="990" y="2971"/>
                </a:moveTo>
                <a:cubicBezTo>
                  <a:pt x="970" y="2999"/>
                  <a:pt x="950" y="3024"/>
                  <a:pt x="942" y="3059"/>
                </a:cubicBezTo>
                <a:cubicBezTo>
                  <a:pt x="931" y="3109"/>
                  <a:pt x="924" y="3176"/>
                  <a:pt x="938" y="3226"/>
                </a:cubicBezTo>
                <a:cubicBezTo>
                  <a:pt x="959" y="3301"/>
                  <a:pt x="1018" y="3350"/>
                  <a:pt x="1090" y="3375"/>
                </a:cubicBezTo>
                <a:cubicBezTo>
                  <a:pt x="1198" y="3413"/>
                  <a:pt x="1325" y="3403"/>
                  <a:pt x="1435" y="3378"/>
                </a:cubicBezTo>
                <a:cubicBezTo>
                  <a:pt x="1558" y="3350"/>
                  <a:pt x="1674" y="3290"/>
                  <a:pt x="1773" y="3212"/>
                </a:cubicBezTo>
                <a:cubicBezTo>
                  <a:pt x="1839" y="3160"/>
                  <a:pt x="1898" y="3094"/>
                  <a:pt x="1905" y="3006"/>
                </a:cubicBezTo>
                <a:cubicBezTo>
                  <a:pt x="1909" y="2955"/>
                  <a:pt x="1881" y="2907"/>
                  <a:pt x="1845" y="2873"/>
                </a:cubicBezTo>
                <a:cubicBezTo>
                  <a:pt x="1837" y="2866"/>
                  <a:pt x="1750" y="2814"/>
                  <a:pt x="1810" y="2863"/>
                </a:cubicBezTo>
                <a:cubicBezTo>
                  <a:pt x="1817" y="2867"/>
                  <a:pt x="1823" y="2871"/>
                  <a:pt x="1830" y="2875"/>
                </a:cubicBezTo>
              </a:path>
              <a:path w="7282" h="4686" extrusionOk="0">
                <a:moveTo>
                  <a:pt x="2000" y="3049"/>
                </a:moveTo>
                <a:cubicBezTo>
                  <a:pt x="1989" y="3074"/>
                  <a:pt x="1959" y="3124"/>
                  <a:pt x="1998" y="3144"/>
                </a:cubicBezTo>
                <a:cubicBezTo>
                  <a:pt x="2045" y="3168"/>
                  <a:pt x="2133" y="3128"/>
                  <a:pt x="2173" y="3106"/>
                </a:cubicBezTo>
                <a:cubicBezTo>
                  <a:pt x="2249" y="3064"/>
                  <a:pt x="2323" y="3002"/>
                  <a:pt x="2373" y="2931"/>
                </a:cubicBezTo>
                <a:cubicBezTo>
                  <a:pt x="2403" y="2888"/>
                  <a:pt x="2436" y="2819"/>
                  <a:pt x="2395" y="2772"/>
                </a:cubicBezTo>
                <a:cubicBezTo>
                  <a:pt x="2353" y="2723"/>
                  <a:pt x="2261" y="2712"/>
                  <a:pt x="2203" y="2702"/>
                </a:cubicBezTo>
                <a:cubicBezTo>
                  <a:pt x="2143" y="2691"/>
                  <a:pt x="1977" y="2728"/>
                  <a:pt x="2020" y="2685"/>
                </a:cubicBezTo>
                <a:cubicBezTo>
                  <a:pt x="2038" y="2667"/>
                  <a:pt x="2109" y="2683"/>
                  <a:pt x="2131" y="2684"/>
                </a:cubicBezTo>
              </a:path>
              <a:path w="7282" h="4686" extrusionOk="0">
                <a:moveTo>
                  <a:pt x="1948" y="3182"/>
                </a:moveTo>
                <a:cubicBezTo>
                  <a:pt x="1975" y="3171"/>
                  <a:pt x="2002" y="3158"/>
                  <a:pt x="2030" y="3151"/>
                </a:cubicBezTo>
                <a:cubicBezTo>
                  <a:pt x="2074" y="3140"/>
                  <a:pt x="2119" y="3139"/>
                  <a:pt x="2163" y="3133"/>
                </a:cubicBezTo>
                <a:cubicBezTo>
                  <a:pt x="2221" y="3125"/>
                  <a:pt x="2252" y="3101"/>
                  <a:pt x="2295" y="3064"/>
                </a:cubicBezTo>
                <a:cubicBezTo>
                  <a:pt x="2331" y="3033"/>
                  <a:pt x="2357" y="2987"/>
                  <a:pt x="2351" y="2936"/>
                </a:cubicBezTo>
                <a:cubicBezTo>
                  <a:pt x="2344" y="2880"/>
                  <a:pt x="2288" y="2852"/>
                  <a:pt x="2241" y="2835"/>
                </a:cubicBezTo>
                <a:cubicBezTo>
                  <a:pt x="2181" y="2814"/>
                  <a:pt x="2119" y="2809"/>
                  <a:pt x="2056" y="2808"/>
                </a:cubicBezTo>
                <a:cubicBezTo>
                  <a:pt x="2009" y="2807"/>
                  <a:pt x="2021" y="2820"/>
                  <a:pt x="2046" y="2832"/>
                </a:cubicBezTo>
              </a:path>
              <a:path w="7282" h="4686" extrusionOk="0">
                <a:moveTo>
                  <a:pt x="1930" y="2685"/>
                </a:moveTo>
                <a:cubicBezTo>
                  <a:pt x="1980" y="2696"/>
                  <a:pt x="2015" y="2692"/>
                  <a:pt x="2066" y="2680"/>
                </a:cubicBezTo>
                <a:cubicBezTo>
                  <a:pt x="2145" y="2661"/>
                  <a:pt x="2220" y="2633"/>
                  <a:pt x="2283" y="2581"/>
                </a:cubicBezTo>
                <a:cubicBezTo>
                  <a:pt x="2360" y="2518"/>
                  <a:pt x="2432" y="2434"/>
                  <a:pt x="2476" y="2345"/>
                </a:cubicBezTo>
                <a:cubicBezTo>
                  <a:pt x="2522" y="2252"/>
                  <a:pt x="2551" y="2141"/>
                  <a:pt x="2553" y="2037"/>
                </a:cubicBezTo>
                <a:cubicBezTo>
                  <a:pt x="2555" y="1903"/>
                  <a:pt x="2509" y="1755"/>
                  <a:pt x="2410" y="1662"/>
                </a:cubicBezTo>
                <a:cubicBezTo>
                  <a:pt x="2355" y="1610"/>
                  <a:pt x="2290" y="1606"/>
                  <a:pt x="2225" y="1642"/>
                </a:cubicBezTo>
                <a:cubicBezTo>
                  <a:pt x="2194" y="1660"/>
                  <a:pt x="2147" y="1695"/>
                  <a:pt x="2145" y="1735"/>
                </a:cubicBezTo>
                <a:cubicBezTo>
                  <a:pt x="2151" y="1752"/>
                  <a:pt x="2154" y="1758"/>
                  <a:pt x="2160" y="1768"/>
                </a:cubicBezTo>
                <a:cubicBezTo>
                  <a:pt x="2200" y="1779"/>
                  <a:pt x="2233" y="1784"/>
                  <a:pt x="2275" y="1783"/>
                </a:cubicBezTo>
                <a:cubicBezTo>
                  <a:pt x="2349" y="1782"/>
                  <a:pt x="2438" y="1768"/>
                  <a:pt x="2508" y="1800"/>
                </a:cubicBezTo>
                <a:cubicBezTo>
                  <a:pt x="2575" y="1830"/>
                  <a:pt x="2571" y="1902"/>
                  <a:pt x="2558" y="1964"/>
                </a:cubicBezTo>
                <a:cubicBezTo>
                  <a:pt x="2532" y="2086"/>
                  <a:pt x="2467" y="2201"/>
                  <a:pt x="2410" y="2311"/>
                </a:cubicBezTo>
                <a:cubicBezTo>
                  <a:pt x="2350" y="2427"/>
                  <a:pt x="2287" y="2541"/>
                  <a:pt x="2216" y="2651"/>
                </a:cubicBezTo>
                <a:cubicBezTo>
                  <a:pt x="2192" y="2688"/>
                  <a:pt x="2151" y="2769"/>
                  <a:pt x="2098" y="2774"/>
                </a:cubicBezTo>
                <a:cubicBezTo>
                  <a:pt x="2066" y="2777"/>
                  <a:pt x="2030" y="2739"/>
                  <a:pt x="2016" y="2714"/>
                </a:cubicBezTo>
                <a:cubicBezTo>
                  <a:pt x="1998" y="2681"/>
                  <a:pt x="1992" y="2666"/>
                  <a:pt x="2005" y="2631"/>
                </a:cubicBezTo>
                <a:cubicBezTo>
                  <a:pt x="2020" y="2590"/>
                  <a:pt x="2096" y="2579"/>
                  <a:pt x="2128" y="2561"/>
                </a:cubicBezTo>
                <a:cubicBezTo>
                  <a:pt x="2184" y="2530"/>
                  <a:pt x="2246" y="2493"/>
                  <a:pt x="2293" y="2449"/>
                </a:cubicBezTo>
                <a:cubicBezTo>
                  <a:pt x="2303" y="2438"/>
                  <a:pt x="2313" y="2426"/>
                  <a:pt x="2323" y="2415"/>
                </a:cubicBezTo>
              </a:path>
              <a:path w="7282" h="4686" extrusionOk="0">
                <a:moveTo>
                  <a:pt x="1973" y="1343"/>
                </a:moveTo>
                <a:cubicBezTo>
                  <a:pt x="2014" y="1382"/>
                  <a:pt x="2059" y="1405"/>
                  <a:pt x="2106" y="1436"/>
                </a:cubicBezTo>
                <a:cubicBezTo>
                  <a:pt x="2169" y="1478"/>
                  <a:pt x="2234" y="1525"/>
                  <a:pt x="2273" y="1592"/>
                </a:cubicBezTo>
                <a:cubicBezTo>
                  <a:pt x="2311" y="1657"/>
                  <a:pt x="2295" y="1725"/>
                  <a:pt x="2255" y="1785"/>
                </a:cubicBezTo>
                <a:cubicBezTo>
                  <a:pt x="2211" y="1851"/>
                  <a:pt x="2151" y="1902"/>
                  <a:pt x="2078" y="1933"/>
                </a:cubicBezTo>
                <a:cubicBezTo>
                  <a:pt x="2030" y="1948"/>
                  <a:pt x="2018" y="1952"/>
                  <a:pt x="1986" y="1956"/>
                </a:cubicBezTo>
              </a:path>
              <a:path w="7282" h="4686" extrusionOk="0">
                <a:moveTo>
                  <a:pt x="532" y="1909"/>
                </a:moveTo>
                <a:cubicBezTo>
                  <a:pt x="501" y="1909"/>
                  <a:pt x="481" y="1901"/>
                  <a:pt x="449" y="1921"/>
                </a:cubicBezTo>
                <a:cubicBezTo>
                  <a:pt x="406" y="1948"/>
                  <a:pt x="371" y="2024"/>
                  <a:pt x="354" y="2069"/>
                </a:cubicBezTo>
                <a:cubicBezTo>
                  <a:pt x="273" y="2279"/>
                  <a:pt x="250" y="2542"/>
                  <a:pt x="290" y="2762"/>
                </a:cubicBezTo>
                <a:cubicBezTo>
                  <a:pt x="310" y="2873"/>
                  <a:pt x="354" y="2994"/>
                  <a:pt x="465" y="3043"/>
                </a:cubicBezTo>
                <a:cubicBezTo>
                  <a:pt x="618" y="3111"/>
                  <a:pt x="843" y="3031"/>
                  <a:pt x="967" y="2935"/>
                </a:cubicBezTo>
                <a:cubicBezTo>
                  <a:pt x="1007" y="2904"/>
                  <a:pt x="1050" y="2867"/>
                  <a:pt x="1065" y="2817"/>
                </a:cubicBezTo>
                <a:cubicBezTo>
                  <a:pt x="1067" y="2797"/>
                  <a:pt x="1068" y="2790"/>
                  <a:pt x="1065" y="2777"/>
                </a:cubicBezTo>
              </a:path>
              <a:path w="7282" h="4686" extrusionOk="0">
                <a:moveTo>
                  <a:pt x="12" y="30"/>
                </a:moveTo>
                <a:cubicBezTo>
                  <a:pt x="-8" y="-7"/>
                  <a:pt x="10" y="0"/>
                  <a:pt x="40" y="15"/>
                </a:cubicBezTo>
              </a:path>
              <a:path w="7282" h="4686" extrusionOk="0">
                <a:moveTo>
                  <a:pt x="119" y="517"/>
                </a:moveTo>
                <a:cubicBezTo>
                  <a:pt x="112" y="514"/>
                  <a:pt x="104" y="510"/>
                  <a:pt x="97" y="507"/>
                </a:cubicBezTo>
                <a:cubicBezTo>
                  <a:pt x="99" y="546"/>
                  <a:pt x="120" y="534"/>
                  <a:pt x="157" y="523"/>
                </a:cubicBezTo>
              </a:path>
              <a:path w="7282" h="4686" extrusionOk="0">
                <a:moveTo>
                  <a:pt x="1890" y="387"/>
                </a:moveTo>
                <a:cubicBezTo>
                  <a:pt x="1887" y="380"/>
                  <a:pt x="1883" y="374"/>
                  <a:pt x="1880" y="367"/>
                </a:cubicBezTo>
                <a:cubicBezTo>
                  <a:pt x="1913" y="355"/>
                  <a:pt x="1914" y="368"/>
                  <a:pt x="1926" y="400"/>
                </a:cubicBezTo>
              </a:path>
              <a:path w="7282" h="4686" extrusionOk="0">
                <a:moveTo>
                  <a:pt x="2210" y="440"/>
                </a:moveTo>
                <a:cubicBezTo>
                  <a:pt x="2237" y="455"/>
                  <a:pt x="2257" y="460"/>
                  <a:pt x="2286" y="462"/>
                </a:cubicBezTo>
                <a:cubicBezTo>
                  <a:pt x="2330" y="465"/>
                  <a:pt x="2374" y="459"/>
                  <a:pt x="2418" y="460"/>
                </a:cubicBezTo>
                <a:cubicBezTo>
                  <a:pt x="2485" y="461"/>
                  <a:pt x="2556" y="466"/>
                  <a:pt x="2616" y="498"/>
                </a:cubicBezTo>
                <a:cubicBezTo>
                  <a:pt x="2655" y="519"/>
                  <a:pt x="2692" y="552"/>
                  <a:pt x="2725" y="581"/>
                </a:cubicBezTo>
                <a:cubicBezTo>
                  <a:pt x="2742" y="597"/>
                  <a:pt x="2746" y="601"/>
                  <a:pt x="2758" y="610"/>
                </a:cubicBezTo>
              </a:path>
              <a:path w="7282" h="4686" extrusionOk="0">
                <a:moveTo>
                  <a:pt x="2091" y="857"/>
                </a:moveTo>
                <a:cubicBezTo>
                  <a:pt x="2073" y="856"/>
                  <a:pt x="2070" y="855"/>
                  <a:pt x="2095" y="851"/>
                </a:cubicBezTo>
              </a:path>
              <a:path w="7282" h="4686" extrusionOk="0">
                <a:moveTo>
                  <a:pt x="2163" y="806"/>
                </a:moveTo>
                <a:cubicBezTo>
                  <a:pt x="2192" y="793"/>
                  <a:pt x="2215" y="785"/>
                  <a:pt x="2246" y="787"/>
                </a:cubicBezTo>
                <a:cubicBezTo>
                  <a:pt x="2286" y="789"/>
                  <a:pt x="2326" y="789"/>
                  <a:pt x="2366" y="794"/>
                </a:cubicBezTo>
                <a:cubicBezTo>
                  <a:pt x="2417" y="800"/>
                  <a:pt x="2466" y="809"/>
                  <a:pt x="2516" y="821"/>
                </a:cubicBezTo>
                <a:cubicBezTo>
                  <a:pt x="2570" y="834"/>
                  <a:pt x="2625" y="846"/>
                  <a:pt x="2678" y="862"/>
                </a:cubicBezTo>
                <a:cubicBezTo>
                  <a:pt x="2714" y="873"/>
                  <a:pt x="2748" y="887"/>
                  <a:pt x="2780" y="905"/>
                </a:cubicBezTo>
                <a:cubicBezTo>
                  <a:pt x="2750" y="923"/>
                  <a:pt x="2750" y="921"/>
                  <a:pt x="2716" y="907"/>
                </a:cubicBezTo>
              </a:path>
              <a:path w="7282" h="4686" extrusionOk="0">
                <a:moveTo>
                  <a:pt x="1862" y="822"/>
                </a:moveTo>
                <a:cubicBezTo>
                  <a:pt x="1847" y="789"/>
                  <a:pt x="1854" y="786"/>
                  <a:pt x="1891" y="782"/>
                </a:cubicBezTo>
                <a:cubicBezTo>
                  <a:pt x="1922" y="779"/>
                  <a:pt x="1929" y="779"/>
                  <a:pt x="1948" y="776"/>
                </a:cubicBezTo>
              </a:path>
              <a:path w="7282" h="4686" extrusionOk="0">
                <a:moveTo>
                  <a:pt x="3719" y="997"/>
                </a:moveTo>
                <a:cubicBezTo>
                  <a:pt x="3669" y="955"/>
                  <a:pt x="3657" y="933"/>
                  <a:pt x="3588" y="939"/>
                </a:cubicBezTo>
                <a:cubicBezTo>
                  <a:pt x="3523" y="945"/>
                  <a:pt x="3470" y="1029"/>
                  <a:pt x="3443" y="1078"/>
                </a:cubicBezTo>
                <a:cubicBezTo>
                  <a:pt x="3383" y="1188"/>
                  <a:pt x="3359" y="1319"/>
                  <a:pt x="3343" y="1442"/>
                </a:cubicBezTo>
                <a:cubicBezTo>
                  <a:pt x="3318" y="1640"/>
                  <a:pt x="3306" y="1914"/>
                  <a:pt x="3458" y="2070"/>
                </a:cubicBezTo>
                <a:cubicBezTo>
                  <a:pt x="3590" y="2205"/>
                  <a:pt x="3819" y="2203"/>
                  <a:pt x="3989" y="2170"/>
                </a:cubicBezTo>
                <a:cubicBezTo>
                  <a:pt x="4140" y="2140"/>
                  <a:pt x="4294" y="2074"/>
                  <a:pt x="4406" y="1967"/>
                </a:cubicBezTo>
                <a:cubicBezTo>
                  <a:pt x="4492" y="1885"/>
                  <a:pt x="4548" y="1762"/>
                  <a:pt x="4534" y="1642"/>
                </a:cubicBezTo>
                <a:cubicBezTo>
                  <a:pt x="4518" y="1502"/>
                  <a:pt x="4414" y="1408"/>
                  <a:pt x="4299" y="1341"/>
                </a:cubicBezTo>
                <a:cubicBezTo>
                  <a:pt x="4174" y="1268"/>
                  <a:pt x="4029" y="1230"/>
                  <a:pt x="3886" y="1215"/>
                </a:cubicBezTo>
                <a:cubicBezTo>
                  <a:pt x="3846" y="1211"/>
                  <a:pt x="3723" y="1199"/>
                  <a:pt x="3789" y="1261"/>
                </a:cubicBezTo>
                <a:cubicBezTo>
                  <a:pt x="3805" y="1269"/>
                  <a:pt x="3822" y="1276"/>
                  <a:pt x="3838" y="1284"/>
                </a:cubicBezTo>
              </a:path>
              <a:path w="7282" h="4686" extrusionOk="0">
                <a:moveTo>
                  <a:pt x="3808" y="4299"/>
                </a:moveTo>
                <a:cubicBezTo>
                  <a:pt x="3834" y="4286"/>
                  <a:pt x="3835" y="4319"/>
                  <a:pt x="3839" y="4354"/>
                </a:cubicBezTo>
                <a:cubicBezTo>
                  <a:pt x="3844" y="4399"/>
                  <a:pt x="3842" y="4447"/>
                  <a:pt x="3849" y="4492"/>
                </a:cubicBezTo>
                <a:cubicBezTo>
                  <a:pt x="3855" y="4534"/>
                  <a:pt x="3864" y="4582"/>
                  <a:pt x="3879" y="4622"/>
                </a:cubicBezTo>
                <a:cubicBezTo>
                  <a:pt x="3889" y="4640"/>
                  <a:pt x="3893" y="4647"/>
                  <a:pt x="3903" y="4657"/>
                </a:cubicBezTo>
              </a:path>
              <a:path w="7282" h="4686" extrusionOk="0">
                <a:moveTo>
                  <a:pt x="3863" y="4211"/>
                </a:moveTo>
                <a:cubicBezTo>
                  <a:pt x="3864" y="4175"/>
                  <a:pt x="3858" y="4154"/>
                  <a:pt x="3898" y="4143"/>
                </a:cubicBezTo>
                <a:cubicBezTo>
                  <a:pt x="3933" y="4134"/>
                  <a:pt x="3975" y="4134"/>
                  <a:pt x="4011" y="4130"/>
                </a:cubicBezTo>
                <a:cubicBezTo>
                  <a:pt x="4083" y="4122"/>
                  <a:pt x="4154" y="4107"/>
                  <a:pt x="4226" y="4100"/>
                </a:cubicBezTo>
                <a:cubicBezTo>
                  <a:pt x="4263" y="4096"/>
                  <a:pt x="4297" y="4094"/>
                  <a:pt x="4302" y="4140"/>
                </a:cubicBezTo>
                <a:cubicBezTo>
                  <a:pt x="4308" y="4195"/>
                  <a:pt x="4283" y="4253"/>
                  <a:pt x="4269" y="4304"/>
                </a:cubicBezTo>
                <a:cubicBezTo>
                  <a:pt x="4253" y="4363"/>
                  <a:pt x="4230" y="4434"/>
                  <a:pt x="4244" y="4495"/>
                </a:cubicBezTo>
                <a:cubicBezTo>
                  <a:pt x="4247" y="4507"/>
                  <a:pt x="4299" y="4561"/>
                  <a:pt x="4306" y="4539"/>
                </a:cubicBezTo>
                <a:cubicBezTo>
                  <a:pt x="4304" y="4532"/>
                  <a:pt x="4301" y="4526"/>
                  <a:pt x="4299" y="4519"/>
                </a:cubicBezTo>
              </a:path>
            </a:pathLst>
          </a:custGeom>
          <a:noFill/>
          <a:ln w="19050" cap="rnd">
            <a:solidFill>
              <a:schemeClr val="tx1"/>
            </a:solidFill>
            <a:round/>
            <a:headEnd/>
            <a:tailEnd/>
          </a:ln>
        </p:spPr>
        <p:txBody>
          <a:bodyPr>
            <a:prstTxWarp prst="textNoShape">
              <a:avLst/>
            </a:prstTxWarp>
          </a:bodyPr>
          <a:lstStyle/>
          <a:p>
            <a:endParaRPr lang="en-US"/>
          </a:p>
        </p:txBody>
      </p:sp>
      <p:sp>
        <p:nvSpPr>
          <p:cNvPr id="38920" name="Freeform 15"/>
          <p:cNvSpPr>
            <a:spLocks noRot="1" noChangeAspect="1" noEditPoints="1" noChangeArrowheads="1" noChangeShapeType="1" noTextEdit="1"/>
          </p:cNvSpPr>
          <p:nvPr>
            <p:custDataLst>
              <p:tags r:id="rId8"/>
            </p:custDataLst>
          </p:nvPr>
        </p:nvSpPr>
        <p:spPr bwMode="auto">
          <a:xfrm>
            <a:off x="1879600" y="2909888"/>
            <a:ext cx="776288" cy="647700"/>
          </a:xfrm>
          <a:custGeom>
            <a:avLst/>
            <a:gdLst>
              <a:gd name="T0" fmla="*/ 301149 w 2155"/>
              <a:gd name="T1" fmla="*/ 181975 h 1801"/>
              <a:gd name="T2" fmla="*/ 393007 w 2155"/>
              <a:gd name="T3" fmla="*/ 420412 h 1801"/>
              <a:gd name="T4" fmla="*/ 621751 w 2155"/>
              <a:gd name="T5" fmla="*/ 401351 h 1801"/>
              <a:gd name="T6" fmla="*/ 603379 w 2155"/>
              <a:gd name="T7" fmla="*/ 231604 h 1801"/>
              <a:gd name="T8" fmla="*/ 379318 w 2155"/>
              <a:gd name="T9" fmla="*/ 93505 h 1801"/>
              <a:gd name="T10" fmla="*/ 381840 w 2155"/>
              <a:gd name="T11" fmla="*/ 124433 h 1801"/>
              <a:gd name="T12" fmla="*/ 323483 w 2155"/>
              <a:gd name="T13" fmla="*/ 188448 h 1801"/>
              <a:gd name="T14" fmla="*/ 323483 w 2155"/>
              <a:gd name="T15" fmla="*/ 253542 h 1801"/>
              <a:gd name="T16" fmla="*/ 355183 w 2155"/>
              <a:gd name="T17" fmla="*/ 575773 h 1801"/>
              <a:gd name="T18" fmla="*/ 591132 w 2155"/>
              <a:gd name="T19" fmla="*/ 421131 h 1801"/>
              <a:gd name="T20" fmla="*/ 658494 w 2155"/>
              <a:gd name="T21" fmla="*/ 365388 h 1801"/>
              <a:gd name="T22" fmla="*/ 426148 w 2155"/>
              <a:gd name="T23" fmla="*/ 311083 h 1801"/>
              <a:gd name="T24" fmla="*/ 456047 w 2155"/>
              <a:gd name="T25" fmla="*/ 285189 h 1801"/>
              <a:gd name="T26" fmla="*/ 609863 w 2155"/>
              <a:gd name="T27" fmla="*/ 138819 h 1801"/>
              <a:gd name="T28" fmla="*/ 712528 w 2155"/>
              <a:gd name="T29" fmla="*/ 41358 h 1801"/>
              <a:gd name="T30" fmla="*/ 674704 w 2155"/>
              <a:gd name="T31" fmla="*/ 45673 h 1801"/>
              <a:gd name="T32" fmla="*/ 714329 w 2155"/>
              <a:gd name="T33" fmla="*/ 62936 h 1801"/>
              <a:gd name="T34" fmla="*/ 774127 w 2155"/>
              <a:gd name="T35" fmla="*/ 3596 h 1801"/>
              <a:gd name="T36" fmla="*/ 689113 w 2155"/>
              <a:gd name="T37" fmla="*/ 22297 h 1801"/>
              <a:gd name="T38" fmla="*/ 488107 w 2155"/>
              <a:gd name="T39" fmla="*/ 428683 h 1801"/>
              <a:gd name="T40" fmla="*/ 433352 w 2155"/>
              <a:gd name="T41" fmla="*/ 637271 h 1801"/>
              <a:gd name="T42" fmla="*/ 471897 w 2155"/>
              <a:gd name="T43" fmla="*/ 627920 h 1801"/>
              <a:gd name="T44" fmla="*/ 609863 w 2155"/>
              <a:gd name="T45" fmla="*/ 557792 h 1801"/>
              <a:gd name="T46" fmla="*/ 660295 w 2155"/>
              <a:gd name="T47" fmla="*/ 543047 h 1801"/>
              <a:gd name="T48" fmla="*/ 596175 w 2155"/>
              <a:gd name="T49" fmla="*/ 481190 h 1801"/>
              <a:gd name="T50" fmla="*/ 497473 w 2155"/>
              <a:gd name="T51" fmla="*/ 440551 h 1801"/>
              <a:gd name="T52" fmla="*/ 364909 w 2155"/>
              <a:gd name="T53" fmla="*/ 348125 h 1801"/>
              <a:gd name="T54" fmla="*/ 349420 w 2155"/>
              <a:gd name="T55" fmla="*/ 321153 h 1801"/>
              <a:gd name="T56" fmla="*/ 244234 w 2155"/>
              <a:gd name="T57" fmla="*/ 268646 h 1801"/>
              <a:gd name="T58" fmla="*/ 35302 w 2155"/>
              <a:gd name="T59" fmla="*/ 141696 h 1801"/>
              <a:gd name="T60" fmla="*/ 62319 w 2155"/>
              <a:gd name="T61" fmla="*/ 150327 h 1801"/>
              <a:gd name="T62" fmla="*/ 208931 w 2155"/>
              <a:gd name="T63" fmla="*/ 148529 h 1801"/>
              <a:gd name="T64" fmla="*/ 84653 w 2155"/>
              <a:gd name="T65" fmla="*/ 224771 h 1801"/>
              <a:gd name="T66" fmla="*/ 106987 w 2155"/>
              <a:gd name="T67" fmla="*/ 233402 h 1801"/>
              <a:gd name="T68" fmla="*/ 186597 w 2155"/>
              <a:gd name="T69" fmla="*/ 238797 h 1801"/>
              <a:gd name="T70" fmla="*/ 71325 w 2155"/>
              <a:gd name="T71" fmla="*/ 306767 h 1801"/>
              <a:gd name="T72" fmla="*/ 151295 w 2155"/>
              <a:gd name="T73" fmla="*/ 281593 h 1801"/>
              <a:gd name="T74" fmla="*/ 207851 w 2155"/>
              <a:gd name="T75" fmla="*/ 295978 h 1801"/>
              <a:gd name="T76" fmla="*/ 130402 w 2155"/>
              <a:gd name="T77" fmla="*/ 360712 h 1801"/>
              <a:gd name="T78" fmla="*/ 208931 w 2155"/>
              <a:gd name="T79" fmla="*/ 366467 h 1801"/>
              <a:gd name="T80" fmla="*/ 0 w 2155"/>
              <a:gd name="T81" fmla="*/ 472918 h 1801"/>
              <a:gd name="T82" fmla="*/ 99062 w 2155"/>
              <a:gd name="T83" fmla="*/ 481909 h 1801"/>
              <a:gd name="T84" fmla="*/ 258282 w 2155"/>
              <a:gd name="T85" fmla="*/ 506004 h 180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155"/>
              <a:gd name="T130" fmla="*/ 0 h 1801"/>
              <a:gd name="T131" fmla="*/ 2155 w 2155"/>
              <a:gd name="T132" fmla="*/ 1801 h 180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155" h="1801" extrusionOk="0">
                <a:moveTo>
                  <a:pt x="881" y="464"/>
                </a:moveTo>
                <a:cubicBezTo>
                  <a:pt x="855" y="469"/>
                  <a:pt x="843" y="447"/>
                  <a:pt x="836" y="506"/>
                </a:cubicBezTo>
                <a:cubicBezTo>
                  <a:pt x="825" y="594"/>
                  <a:pt x="855" y="708"/>
                  <a:pt x="876" y="792"/>
                </a:cubicBezTo>
                <a:cubicBezTo>
                  <a:pt x="911" y="933"/>
                  <a:pt x="972" y="1079"/>
                  <a:pt x="1091" y="1169"/>
                </a:cubicBezTo>
                <a:cubicBezTo>
                  <a:pt x="1167" y="1227"/>
                  <a:pt x="1271" y="1261"/>
                  <a:pt x="1366" y="1260"/>
                </a:cubicBezTo>
                <a:cubicBezTo>
                  <a:pt x="1500" y="1259"/>
                  <a:pt x="1627" y="1204"/>
                  <a:pt x="1726" y="1116"/>
                </a:cubicBezTo>
                <a:cubicBezTo>
                  <a:pt x="1802" y="1048"/>
                  <a:pt x="1870" y="942"/>
                  <a:pt x="1849" y="836"/>
                </a:cubicBezTo>
                <a:cubicBezTo>
                  <a:pt x="1832" y="749"/>
                  <a:pt x="1742" y="691"/>
                  <a:pt x="1675" y="644"/>
                </a:cubicBezTo>
                <a:cubicBezTo>
                  <a:pt x="1525" y="538"/>
                  <a:pt x="1364" y="447"/>
                  <a:pt x="1208" y="351"/>
                </a:cubicBezTo>
                <a:cubicBezTo>
                  <a:pt x="1156" y="319"/>
                  <a:pt x="1109" y="285"/>
                  <a:pt x="1053" y="260"/>
                </a:cubicBezTo>
                <a:cubicBezTo>
                  <a:pt x="1048" y="259"/>
                  <a:pt x="1043" y="257"/>
                  <a:pt x="1038" y="256"/>
                </a:cubicBezTo>
                <a:cubicBezTo>
                  <a:pt x="1039" y="289"/>
                  <a:pt x="1047" y="310"/>
                  <a:pt x="1060" y="346"/>
                </a:cubicBezTo>
                <a:cubicBezTo>
                  <a:pt x="1071" y="377"/>
                  <a:pt x="1074" y="387"/>
                  <a:pt x="1080" y="408"/>
                </a:cubicBezTo>
              </a:path>
              <a:path w="2155" h="1801" extrusionOk="0">
                <a:moveTo>
                  <a:pt x="898" y="524"/>
                </a:moveTo>
                <a:cubicBezTo>
                  <a:pt x="888" y="543"/>
                  <a:pt x="886" y="533"/>
                  <a:pt x="891" y="574"/>
                </a:cubicBezTo>
                <a:cubicBezTo>
                  <a:pt x="897" y="618"/>
                  <a:pt x="899" y="660"/>
                  <a:pt x="898" y="705"/>
                </a:cubicBezTo>
                <a:cubicBezTo>
                  <a:pt x="890" y="964"/>
                  <a:pt x="820" y="1266"/>
                  <a:pt x="915" y="1516"/>
                </a:cubicBezTo>
                <a:cubicBezTo>
                  <a:pt x="928" y="1550"/>
                  <a:pt x="948" y="1591"/>
                  <a:pt x="986" y="1601"/>
                </a:cubicBezTo>
                <a:cubicBezTo>
                  <a:pt x="1035" y="1614"/>
                  <a:pt x="1111" y="1541"/>
                  <a:pt x="1146" y="1518"/>
                </a:cubicBezTo>
                <a:cubicBezTo>
                  <a:pt x="1315" y="1408"/>
                  <a:pt x="1481" y="1293"/>
                  <a:pt x="1641" y="1171"/>
                </a:cubicBezTo>
                <a:cubicBezTo>
                  <a:pt x="1692" y="1132"/>
                  <a:pt x="1742" y="1093"/>
                  <a:pt x="1790" y="1051"/>
                </a:cubicBezTo>
                <a:cubicBezTo>
                  <a:pt x="1809" y="1035"/>
                  <a:pt x="1816" y="1029"/>
                  <a:pt x="1828" y="1016"/>
                </a:cubicBezTo>
                <a:cubicBezTo>
                  <a:pt x="1772" y="1016"/>
                  <a:pt x="1794" y="1036"/>
                  <a:pt x="1745" y="989"/>
                </a:cubicBezTo>
              </a:path>
              <a:path w="2155" h="1801" extrusionOk="0">
                <a:moveTo>
                  <a:pt x="1183" y="865"/>
                </a:moveTo>
                <a:cubicBezTo>
                  <a:pt x="1175" y="849"/>
                  <a:pt x="1174" y="842"/>
                  <a:pt x="1185" y="831"/>
                </a:cubicBezTo>
                <a:cubicBezTo>
                  <a:pt x="1221" y="823"/>
                  <a:pt x="1235" y="814"/>
                  <a:pt x="1266" y="793"/>
                </a:cubicBezTo>
                <a:cubicBezTo>
                  <a:pt x="1324" y="754"/>
                  <a:pt x="1368" y="703"/>
                  <a:pt x="1418" y="655"/>
                </a:cubicBezTo>
                <a:cubicBezTo>
                  <a:pt x="1510" y="566"/>
                  <a:pt x="1603" y="477"/>
                  <a:pt x="1693" y="386"/>
                </a:cubicBezTo>
                <a:cubicBezTo>
                  <a:pt x="1768" y="310"/>
                  <a:pt x="1841" y="231"/>
                  <a:pt x="1919" y="158"/>
                </a:cubicBezTo>
                <a:cubicBezTo>
                  <a:pt x="1946" y="132"/>
                  <a:pt x="1942" y="126"/>
                  <a:pt x="1978" y="115"/>
                </a:cubicBezTo>
              </a:path>
              <a:path w="2155" h="1801" extrusionOk="0">
                <a:moveTo>
                  <a:pt x="1924" y="24"/>
                </a:moveTo>
                <a:cubicBezTo>
                  <a:pt x="1908" y="57"/>
                  <a:pt x="1886" y="93"/>
                  <a:pt x="1873" y="127"/>
                </a:cubicBezTo>
                <a:cubicBezTo>
                  <a:pt x="1859" y="165"/>
                  <a:pt x="1848" y="187"/>
                  <a:pt x="1866" y="222"/>
                </a:cubicBezTo>
                <a:cubicBezTo>
                  <a:pt x="1908" y="212"/>
                  <a:pt x="1946" y="198"/>
                  <a:pt x="1983" y="175"/>
                </a:cubicBezTo>
                <a:cubicBezTo>
                  <a:pt x="2031" y="146"/>
                  <a:pt x="2091" y="111"/>
                  <a:pt x="2129" y="69"/>
                </a:cubicBezTo>
                <a:cubicBezTo>
                  <a:pt x="2149" y="47"/>
                  <a:pt x="2152" y="35"/>
                  <a:pt x="2149" y="10"/>
                </a:cubicBezTo>
                <a:cubicBezTo>
                  <a:pt x="2090" y="0"/>
                  <a:pt x="2043" y="7"/>
                  <a:pt x="1984" y="25"/>
                </a:cubicBezTo>
                <a:cubicBezTo>
                  <a:pt x="1955" y="34"/>
                  <a:pt x="1871" y="42"/>
                  <a:pt x="1913" y="62"/>
                </a:cubicBezTo>
              </a:path>
              <a:path w="2155" h="1801" extrusionOk="0">
                <a:moveTo>
                  <a:pt x="1341" y="1264"/>
                </a:moveTo>
                <a:cubicBezTo>
                  <a:pt x="1336" y="1231"/>
                  <a:pt x="1341" y="1222"/>
                  <a:pt x="1355" y="1192"/>
                </a:cubicBezTo>
                <a:cubicBezTo>
                  <a:pt x="1368" y="1228"/>
                  <a:pt x="1363" y="1255"/>
                  <a:pt x="1355" y="1294"/>
                </a:cubicBezTo>
                <a:cubicBezTo>
                  <a:pt x="1320" y="1454"/>
                  <a:pt x="1213" y="1608"/>
                  <a:pt x="1203" y="1772"/>
                </a:cubicBezTo>
                <a:cubicBezTo>
                  <a:pt x="1204" y="1779"/>
                  <a:pt x="1204" y="1787"/>
                  <a:pt x="1205" y="1794"/>
                </a:cubicBezTo>
                <a:cubicBezTo>
                  <a:pt x="1251" y="1798"/>
                  <a:pt x="1271" y="1774"/>
                  <a:pt x="1310" y="1746"/>
                </a:cubicBezTo>
                <a:cubicBezTo>
                  <a:pt x="1358" y="1711"/>
                  <a:pt x="1406" y="1676"/>
                  <a:pt x="1458" y="1646"/>
                </a:cubicBezTo>
                <a:cubicBezTo>
                  <a:pt x="1530" y="1604"/>
                  <a:pt x="1611" y="1568"/>
                  <a:pt x="1693" y="1551"/>
                </a:cubicBezTo>
                <a:cubicBezTo>
                  <a:pt x="1724" y="1545"/>
                  <a:pt x="1755" y="1542"/>
                  <a:pt x="1786" y="1538"/>
                </a:cubicBezTo>
                <a:cubicBezTo>
                  <a:pt x="1814" y="1534"/>
                  <a:pt x="1813" y="1526"/>
                  <a:pt x="1833" y="1510"/>
                </a:cubicBezTo>
                <a:cubicBezTo>
                  <a:pt x="1806" y="1483"/>
                  <a:pt x="1777" y="1464"/>
                  <a:pt x="1751" y="1433"/>
                </a:cubicBezTo>
                <a:cubicBezTo>
                  <a:pt x="1722" y="1398"/>
                  <a:pt x="1691" y="1366"/>
                  <a:pt x="1655" y="1338"/>
                </a:cubicBezTo>
                <a:cubicBezTo>
                  <a:pt x="1607" y="1301"/>
                  <a:pt x="1551" y="1269"/>
                  <a:pt x="1495" y="1247"/>
                </a:cubicBezTo>
                <a:cubicBezTo>
                  <a:pt x="1458" y="1233"/>
                  <a:pt x="1420" y="1227"/>
                  <a:pt x="1381" y="1225"/>
                </a:cubicBezTo>
                <a:cubicBezTo>
                  <a:pt x="1420" y="1232"/>
                  <a:pt x="1437" y="1230"/>
                  <a:pt x="1476" y="1224"/>
                </a:cubicBezTo>
              </a:path>
              <a:path w="2155" h="1801" extrusionOk="0">
                <a:moveTo>
                  <a:pt x="1013" y="968"/>
                </a:moveTo>
                <a:cubicBezTo>
                  <a:pt x="1033" y="955"/>
                  <a:pt x="1043" y="949"/>
                  <a:pt x="1055" y="930"/>
                </a:cubicBezTo>
                <a:cubicBezTo>
                  <a:pt x="1027" y="917"/>
                  <a:pt x="999" y="903"/>
                  <a:pt x="970" y="893"/>
                </a:cubicBezTo>
                <a:cubicBezTo>
                  <a:pt x="929" y="879"/>
                  <a:pt x="888" y="862"/>
                  <a:pt x="848" y="845"/>
                </a:cubicBezTo>
                <a:cubicBezTo>
                  <a:pt x="794" y="822"/>
                  <a:pt x="718" y="792"/>
                  <a:pt x="678" y="747"/>
                </a:cubicBezTo>
                <a:cubicBezTo>
                  <a:pt x="633" y="696"/>
                  <a:pt x="691" y="701"/>
                  <a:pt x="728" y="692"/>
                </a:cubicBezTo>
              </a:path>
              <a:path w="2155" h="1801" extrusionOk="0">
                <a:moveTo>
                  <a:pt x="98" y="394"/>
                </a:moveTo>
                <a:cubicBezTo>
                  <a:pt x="77" y="402"/>
                  <a:pt x="70" y="404"/>
                  <a:pt x="62" y="418"/>
                </a:cubicBezTo>
                <a:cubicBezTo>
                  <a:pt x="100" y="422"/>
                  <a:pt x="135" y="421"/>
                  <a:pt x="173" y="418"/>
                </a:cubicBezTo>
                <a:cubicBezTo>
                  <a:pt x="255" y="412"/>
                  <a:pt x="335" y="417"/>
                  <a:pt x="417" y="419"/>
                </a:cubicBezTo>
                <a:cubicBezTo>
                  <a:pt x="471" y="420"/>
                  <a:pt x="526" y="418"/>
                  <a:pt x="580" y="413"/>
                </a:cubicBezTo>
                <a:cubicBezTo>
                  <a:pt x="588" y="412"/>
                  <a:pt x="595" y="412"/>
                  <a:pt x="603" y="411"/>
                </a:cubicBezTo>
              </a:path>
              <a:path w="2155" h="1801" extrusionOk="0">
                <a:moveTo>
                  <a:pt x="235" y="625"/>
                </a:moveTo>
                <a:cubicBezTo>
                  <a:pt x="229" y="633"/>
                  <a:pt x="224" y="641"/>
                  <a:pt x="218" y="649"/>
                </a:cubicBezTo>
                <a:cubicBezTo>
                  <a:pt x="247" y="660"/>
                  <a:pt x="265" y="653"/>
                  <a:pt x="297" y="649"/>
                </a:cubicBezTo>
                <a:cubicBezTo>
                  <a:pt x="338" y="644"/>
                  <a:pt x="379" y="646"/>
                  <a:pt x="420" y="647"/>
                </a:cubicBezTo>
                <a:cubicBezTo>
                  <a:pt x="453" y="648"/>
                  <a:pt x="487" y="652"/>
                  <a:pt x="518" y="664"/>
                </a:cubicBezTo>
                <a:cubicBezTo>
                  <a:pt x="525" y="667"/>
                  <a:pt x="533" y="671"/>
                  <a:pt x="540" y="674"/>
                </a:cubicBezTo>
              </a:path>
              <a:path w="2155" h="1801" extrusionOk="0">
                <a:moveTo>
                  <a:pt x="198" y="853"/>
                </a:moveTo>
                <a:cubicBezTo>
                  <a:pt x="231" y="837"/>
                  <a:pt x="258" y="824"/>
                  <a:pt x="292" y="813"/>
                </a:cubicBezTo>
                <a:cubicBezTo>
                  <a:pt x="332" y="800"/>
                  <a:pt x="377" y="785"/>
                  <a:pt x="420" y="783"/>
                </a:cubicBezTo>
                <a:cubicBezTo>
                  <a:pt x="458" y="781"/>
                  <a:pt x="501" y="783"/>
                  <a:pt x="537" y="793"/>
                </a:cubicBezTo>
                <a:cubicBezTo>
                  <a:pt x="560" y="803"/>
                  <a:pt x="568" y="807"/>
                  <a:pt x="577" y="823"/>
                </a:cubicBezTo>
              </a:path>
              <a:path w="2155" h="1801" extrusionOk="0">
                <a:moveTo>
                  <a:pt x="230" y="1019"/>
                </a:moveTo>
                <a:cubicBezTo>
                  <a:pt x="275" y="1018"/>
                  <a:pt x="317" y="1011"/>
                  <a:pt x="362" y="1003"/>
                </a:cubicBezTo>
                <a:cubicBezTo>
                  <a:pt x="408" y="995"/>
                  <a:pt x="460" y="991"/>
                  <a:pt x="507" y="996"/>
                </a:cubicBezTo>
                <a:cubicBezTo>
                  <a:pt x="535" y="999"/>
                  <a:pt x="555" y="1008"/>
                  <a:pt x="580" y="1019"/>
                </a:cubicBezTo>
              </a:path>
              <a:path w="2155" h="1801" extrusionOk="0">
                <a:moveTo>
                  <a:pt x="58" y="1318"/>
                </a:moveTo>
                <a:cubicBezTo>
                  <a:pt x="36" y="1315"/>
                  <a:pt x="21" y="1313"/>
                  <a:pt x="0" y="1315"/>
                </a:cubicBezTo>
                <a:cubicBezTo>
                  <a:pt x="22" y="1343"/>
                  <a:pt x="49" y="1332"/>
                  <a:pt x="87" y="1333"/>
                </a:cubicBezTo>
                <a:cubicBezTo>
                  <a:pt x="150" y="1335"/>
                  <a:pt x="212" y="1337"/>
                  <a:pt x="275" y="1340"/>
                </a:cubicBezTo>
                <a:cubicBezTo>
                  <a:pt x="354" y="1344"/>
                  <a:pt x="431" y="1358"/>
                  <a:pt x="508" y="1372"/>
                </a:cubicBezTo>
                <a:cubicBezTo>
                  <a:pt x="577" y="1385"/>
                  <a:pt x="647" y="1401"/>
                  <a:pt x="717" y="1407"/>
                </a:cubicBezTo>
                <a:cubicBezTo>
                  <a:pt x="738" y="1408"/>
                  <a:pt x="745" y="1408"/>
                  <a:pt x="758" y="1412"/>
                </a:cubicBezTo>
              </a:path>
            </a:pathLst>
          </a:custGeom>
          <a:noFill/>
          <a:ln w="19050" cap="rnd">
            <a:solidFill>
              <a:schemeClr val="tx1"/>
            </a:solidFill>
            <a:round/>
            <a:headEnd/>
            <a:tailEnd/>
          </a:ln>
        </p:spPr>
        <p:txBody>
          <a:bodyPr>
            <a:prstTxWarp prst="textNoShape">
              <a:avLst/>
            </a:prstTxWarp>
          </a:bodyPr>
          <a:lstStyle/>
          <a:p>
            <a:endParaRPr lang="en-US"/>
          </a:p>
        </p:txBody>
      </p:sp>
      <p:sp>
        <p:nvSpPr>
          <p:cNvPr id="38921" name="Freeform 16"/>
          <p:cNvSpPr>
            <a:spLocks noRot="1" noChangeAspect="1" noEditPoints="1" noChangeArrowheads="1" noChangeShapeType="1" noTextEdit="1"/>
          </p:cNvSpPr>
          <p:nvPr>
            <p:custDataLst>
              <p:tags r:id="rId9"/>
            </p:custDataLst>
          </p:nvPr>
        </p:nvSpPr>
        <p:spPr bwMode="auto">
          <a:xfrm>
            <a:off x="3209925" y="2598738"/>
            <a:ext cx="387350" cy="569912"/>
          </a:xfrm>
          <a:custGeom>
            <a:avLst/>
            <a:gdLst>
              <a:gd name="T0" fmla="*/ 90526 w 1074"/>
              <a:gd name="T1" fmla="*/ 377783 h 1584"/>
              <a:gd name="T2" fmla="*/ 0 w 1074"/>
              <a:gd name="T3" fmla="*/ 198965 h 1584"/>
              <a:gd name="T4" fmla="*/ 72493 w 1074"/>
              <a:gd name="T5" fmla="*/ 42815 h 1584"/>
              <a:gd name="T6" fmla="*/ 240922 w 1074"/>
              <a:gd name="T7" fmla="*/ 6476 h 1584"/>
              <a:gd name="T8" fmla="*/ 340103 w 1074"/>
              <a:gd name="T9" fmla="*/ 116933 h 1584"/>
              <a:gd name="T10" fmla="*/ 363546 w 1074"/>
              <a:gd name="T11" fmla="*/ 288194 h 1584"/>
              <a:gd name="T12" fmla="*/ 337579 w 1074"/>
              <a:gd name="T13" fmla="*/ 347920 h 1584"/>
              <a:gd name="T14" fmla="*/ 347317 w 1074"/>
              <a:gd name="T15" fmla="*/ 398651 h 1584"/>
              <a:gd name="T16" fmla="*/ 365350 w 1074"/>
              <a:gd name="T17" fmla="*/ 514864 h 1584"/>
              <a:gd name="T18" fmla="*/ 287086 w 1074"/>
              <a:gd name="T19" fmla="*/ 547605 h 1584"/>
              <a:gd name="T20" fmla="*/ 239118 w 1074"/>
              <a:gd name="T21" fmla="*/ 566674 h 1584"/>
              <a:gd name="T22" fmla="*/ 218200 w 1074"/>
              <a:gd name="T23" fmla="*/ 496154 h 1584"/>
              <a:gd name="T24" fmla="*/ 227577 w 1074"/>
              <a:gd name="T25" fmla="*/ 450101 h 1584"/>
              <a:gd name="T26" fmla="*/ 261840 w 1074"/>
              <a:gd name="T27" fmla="*/ 479604 h 1584"/>
              <a:gd name="T28" fmla="*/ 277709 w 1074"/>
              <a:gd name="T29" fmla="*/ 524938 h 1584"/>
              <a:gd name="T30" fmla="*/ 353809 w 1074"/>
              <a:gd name="T31" fmla="*/ 514864 h 1584"/>
              <a:gd name="T32" fmla="*/ 344792 w 1074"/>
              <a:gd name="T33" fmla="*/ 470969 h 1584"/>
              <a:gd name="T34" fmla="*/ 386989 w 1074"/>
              <a:gd name="T35" fmla="*/ 501551 h 1584"/>
              <a:gd name="T36" fmla="*/ 386989 w 1074"/>
              <a:gd name="T37" fmla="*/ 501551 h 1584"/>
              <a:gd name="T38" fmla="*/ 314857 w 1074"/>
              <a:gd name="T39" fmla="*/ 522060 h 1584"/>
              <a:gd name="T40" fmla="*/ 292135 w 1074"/>
              <a:gd name="T41" fmla="*/ 505149 h 1584"/>
              <a:gd name="T42" fmla="*/ 293939 w 1074"/>
              <a:gd name="T43" fmla="*/ 468810 h 1584"/>
              <a:gd name="T44" fmla="*/ 137412 w 1074"/>
              <a:gd name="T45" fmla="*/ 174500 h 1584"/>
              <a:gd name="T46" fmla="*/ 184298 w 1074"/>
              <a:gd name="T47" fmla="*/ 268765 h 1584"/>
              <a:gd name="T48" fmla="*/ 203052 w 1074"/>
              <a:gd name="T49" fmla="*/ 238543 h 1584"/>
              <a:gd name="T50" fmla="*/ 175281 w 1074"/>
              <a:gd name="T51" fmla="*/ 161187 h 1584"/>
              <a:gd name="T52" fmla="*/ 278791 w 1074"/>
              <a:gd name="T53" fmla="*/ 147515 h 1584"/>
              <a:gd name="T54" fmla="*/ 284922 w 1074"/>
              <a:gd name="T55" fmla="*/ 205082 h 1584"/>
              <a:gd name="T56" fmla="*/ 346235 w 1074"/>
              <a:gd name="T57" fmla="*/ 186373 h 1584"/>
              <a:gd name="T58" fmla="*/ 279512 w 1074"/>
              <a:gd name="T59" fmla="*/ 166584 h 1584"/>
              <a:gd name="T60" fmla="*/ 246332 w 1074"/>
              <a:gd name="T61" fmla="*/ 338925 h 1584"/>
              <a:gd name="T62" fmla="*/ 258233 w 1074"/>
              <a:gd name="T63" fmla="*/ 330650 h 1584"/>
              <a:gd name="T64" fmla="*/ 288890 w 1074"/>
              <a:gd name="T65" fmla="*/ 325613 h 1584"/>
              <a:gd name="T66" fmla="*/ 293217 w 1074"/>
              <a:gd name="T67" fmla="*/ 270564 h 1584"/>
              <a:gd name="T68" fmla="*/ 324956 w 1074"/>
              <a:gd name="T69" fmla="*/ 298988 h 1584"/>
              <a:gd name="T70" fmla="*/ 310169 w 1074"/>
              <a:gd name="T71" fmla="*/ 350798 h 1584"/>
              <a:gd name="T72" fmla="*/ 269053 w 1074"/>
              <a:gd name="T73" fmla="*/ 382100 h 1584"/>
              <a:gd name="T74" fmla="*/ 254627 w 1074"/>
              <a:gd name="T75" fmla="*/ 346840 h 158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74"/>
              <a:gd name="T115" fmla="*/ 0 h 1584"/>
              <a:gd name="T116" fmla="*/ 1074 w 1074"/>
              <a:gd name="T117" fmla="*/ 1584 h 158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74" h="1584" extrusionOk="0">
                <a:moveTo>
                  <a:pt x="323" y="1116"/>
                </a:moveTo>
                <a:cubicBezTo>
                  <a:pt x="299" y="1092"/>
                  <a:pt x="276" y="1073"/>
                  <a:pt x="251" y="1050"/>
                </a:cubicBezTo>
                <a:cubicBezTo>
                  <a:pt x="185" y="990"/>
                  <a:pt x="135" y="919"/>
                  <a:pt x="88" y="844"/>
                </a:cubicBezTo>
                <a:cubicBezTo>
                  <a:pt x="33" y="756"/>
                  <a:pt x="9" y="656"/>
                  <a:pt x="0" y="553"/>
                </a:cubicBezTo>
                <a:cubicBezTo>
                  <a:pt x="-6" y="484"/>
                  <a:pt x="10" y="411"/>
                  <a:pt x="35" y="347"/>
                </a:cubicBezTo>
                <a:cubicBezTo>
                  <a:pt x="67" y="263"/>
                  <a:pt x="134" y="178"/>
                  <a:pt x="201" y="119"/>
                </a:cubicBezTo>
                <a:cubicBezTo>
                  <a:pt x="274" y="55"/>
                  <a:pt x="355" y="19"/>
                  <a:pt x="450" y="5"/>
                </a:cubicBezTo>
                <a:cubicBezTo>
                  <a:pt x="519" y="-5"/>
                  <a:pt x="601" y="-4"/>
                  <a:pt x="668" y="18"/>
                </a:cubicBezTo>
                <a:cubicBezTo>
                  <a:pt x="706" y="31"/>
                  <a:pt x="744" y="53"/>
                  <a:pt x="775" y="79"/>
                </a:cubicBezTo>
                <a:cubicBezTo>
                  <a:pt x="850" y="142"/>
                  <a:pt x="908" y="235"/>
                  <a:pt x="943" y="325"/>
                </a:cubicBezTo>
                <a:cubicBezTo>
                  <a:pt x="989" y="441"/>
                  <a:pt x="998" y="579"/>
                  <a:pt x="1006" y="703"/>
                </a:cubicBezTo>
                <a:cubicBezTo>
                  <a:pt x="1008" y="736"/>
                  <a:pt x="1009" y="768"/>
                  <a:pt x="1008" y="801"/>
                </a:cubicBezTo>
                <a:cubicBezTo>
                  <a:pt x="1008" y="820"/>
                  <a:pt x="1013" y="852"/>
                  <a:pt x="1008" y="869"/>
                </a:cubicBezTo>
                <a:cubicBezTo>
                  <a:pt x="996" y="912"/>
                  <a:pt x="957" y="929"/>
                  <a:pt x="936" y="967"/>
                </a:cubicBezTo>
                <a:cubicBezTo>
                  <a:pt x="919" y="998"/>
                  <a:pt x="921" y="1013"/>
                  <a:pt x="928" y="1040"/>
                </a:cubicBezTo>
                <a:cubicBezTo>
                  <a:pt x="934" y="1062"/>
                  <a:pt x="954" y="1087"/>
                  <a:pt x="963" y="1108"/>
                </a:cubicBezTo>
                <a:cubicBezTo>
                  <a:pt x="974" y="1134"/>
                  <a:pt x="985" y="1162"/>
                  <a:pt x="993" y="1190"/>
                </a:cubicBezTo>
                <a:cubicBezTo>
                  <a:pt x="1009" y="1247"/>
                  <a:pt x="1061" y="1390"/>
                  <a:pt x="1013" y="1431"/>
                </a:cubicBezTo>
                <a:cubicBezTo>
                  <a:pt x="984" y="1455"/>
                  <a:pt x="918" y="1462"/>
                  <a:pt x="883" y="1477"/>
                </a:cubicBezTo>
                <a:cubicBezTo>
                  <a:pt x="853" y="1490"/>
                  <a:pt x="825" y="1507"/>
                  <a:pt x="796" y="1522"/>
                </a:cubicBezTo>
                <a:cubicBezTo>
                  <a:pt x="763" y="1540"/>
                  <a:pt x="709" y="1577"/>
                  <a:pt x="678" y="1583"/>
                </a:cubicBezTo>
                <a:cubicBezTo>
                  <a:pt x="673" y="1580"/>
                  <a:pt x="668" y="1578"/>
                  <a:pt x="663" y="1575"/>
                </a:cubicBezTo>
                <a:cubicBezTo>
                  <a:pt x="646" y="1541"/>
                  <a:pt x="610" y="1496"/>
                  <a:pt x="601" y="1464"/>
                </a:cubicBezTo>
                <a:cubicBezTo>
                  <a:pt x="594" y="1437"/>
                  <a:pt x="601" y="1406"/>
                  <a:pt x="605" y="1379"/>
                </a:cubicBezTo>
                <a:cubicBezTo>
                  <a:pt x="609" y="1350"/>
                  <a:pt x="615" y="1322"/>
                  <a:pt x="621" y="1293"/>
                </a:cubicBezTo>
                <a:cubicBezTo>
                  <a:pt x="627" y="1270"/>
                  <a:pt x="628" y="1265"/>
                  <a:pt x="631" y="1251"/>
                </a:cubicBezTo>
                <a:cubicBezTo>
                  <a:pt x="655" y="1266"/>
                  <a:pt x="669" y="1269"/>
                  <a:pt x="690" y="1279"/>
                </a:cubicBezTo>
                <a:cubicBezTo>
                  <a:pt x="730" y="1297"/>
                  <a:pt x="717" y="1296"/>
                  <a:pt x="726" y="1333"/>
                </a:cubicBezTo>
                <a:cubicBezTo>
                  <a:pt x="732" y="1356"/>
                  <a:pt x="726" y="1383"/>
                  <a:pt x="733" y="1409"/>
                </a:cubicBezTo>
                <a:cubicBezTo>
                  <a:pt x="741" y="1438"/>
                  <a:pt x="751" y="1436"/>
                  <a:pt x="770" y="1459"/>
                </a:cubicBezTo>
              </a:path>
              <a:path w="1074" h="1584" extrusionOk="0">
                <a:moveTo>
                  <a:pt x="990" y="1510"/>
                </a:moveTo>
                <a:cubicBezTo>
                  <a:pt x="987" y="1484"/>
                  <a:pt x="983" y="1457"/>
                  <a:pt x="981" y="1431"/>
                </a:cubicBezTo>
                <a:cubicBezTo>
                  <a:pt x="978" y="1397"/>
                  <a:pt x="976" y="1358"/>
                  <a:pt x="965" y="1326"/>
                </a:cubicBezTo>
                <a:cubicBezTo>
                  <a:pt x="962" y="1320"/>
                  <a:pt x="959" y="1315"/>
                  <a:pt x="956" y="1309"/>
                </a:cubicBezTo>
              </a:path>
              <a:path w="1074" h="1584" extrusionOk="0">
                <a:moveTo>
                  <a:pt x="1073" y="1394"/>
                </a:moveTo>
                <a:lnTo>
                  <a:pt x="1073" y="1394"/>
                </a:lnTo>
              </a:path>
              <a:path w="1074" h="1584" extrusionOk="0">
                <a:moveTo>
                  <a:pt x="873" y="1451"/>
                </a:moveTo>
                <a:cubicBezTo>
                  <a:pt x="853" y="1461"/>
                  <a:pt x="838" y="1469"/>
                  <a:pt x="818" y="1477"/>
                </a:cubicBezTo>
                <a:cubicBezTo>
                  <a:pt x="812" y="1453"/>
                  <a:pt x="808" y="1429"/>
                  <a:pt x="810" y="1404"/>
                </a:cubicBezTo>
                <a:cubicBezTo>
                  <a:pt x="812" y="1382"/>
                  <a:pt x="815" y="1359"/>
                  <a:pt x="818" y="1337"/>
                </a:cubicBezTo>
                <a:cubicBezTo>
                  <a:pt x="821" y="1319"/>
                  <a:pt x="822" y="1314"/>
                  <a:pt x="815" y="1303"/>
                </a:cubicBezTo>
              </a:path>
              <a:path w="1074" h="1584" extrusionOk="0">
                <a:moveTo>
                  <a:pt x="376" y="390"/>
                </a:moveTo>
                <a:cubicBezTo>
                  <a:pt x="352" y="418"/>
                  <a:pt x="368" y="448"/>
                  <a:pt x="381" y="485"/>
                </a:cubicBezTo>
                <a:cubicBezTo>
                  <a:pt x="399" y="536"/>
                  <a:pt x="419" y="587"/>
                  <a:pt x="443" y="636"/>
                </a:cubicBezTo>
                <a:cubicBezTo>
                  <a:pt x="459" y="669"/>
                  <a:pt x="480" y="724"/>
                  <a:pt x="511" y="747"/>
                </a:cubicBezTo>
                <a:cubicBezTo>
                  <a:pt x="519" y="751"/>
                  <a:pt x="527" y="755"/>
                  <a:pt x="535" y="759"/>
                </a:cubicBezTo>
                <a:cubicBezTo>
                  <a:pt x="558" y="730"/>
                  <a:pt x="565" y="702"/>
                  <a:pt x="563" y="663"/>
                </a:cubicBezTo>
                <a:cubicBezTo>
                  <a:pt x="561" y="616"/>
                  <a:pt x="549" y="567"/>
                  <a:pt x="528" y="525"/>
                </a:cubicBezTo>
                <a:cubicBezTo>
                  <a:pt x="515" y="499"/>
                  <a:pt x="500" y="473"/>
                  <a:pt x="486" y="448"/>
                </a:cubicBezTo>
                <a:cubicBezTo>
                  <a:pt x="482" y="440"/>
                  <a:pt x="477" y="433"/>
                  <a:pt x="473" y="425"/>
                </a:cubicBezTo>
              </a:path>
              <a:path w="1074" h="1584" extrusionOk="0">
                <a:moveTo>
                  <a:pt x="773" y="410"/>
                </a:moveTo>
                <a:cubicBezTo>
                  <a:pt x="762" y="441"/>
                  <a:pt x="750" y="465"/>
                  <a:pt x="751" y="498"/>
                </a:cubicBezTo>
                <a:cubicBezTo>
                  <a:pt x="752" y="527"/>
                  <a:pt x="766" y="553"/>
                  <a:pt x="790" y="570"/>
                </a:cubicBezTo>
                <a:cubicBezTo>
                  <a:pt x="817" y="588"/>
                  <a:pt x="853" y="588"/>
                  <a:pt x="883" y="578"/>
                </a:cubicBezTo>
                <a:cubicBezTo>
                  <a:pt x="912" y="568"/>
                  <a:pt x="946" y="546"/>
                  <a:pt x="960" y="518"/>
                </a:cubicBezTo>
                <a:cubicBezTo>
                  <a:pt x="981" y="476"/>
                  <a:pt x="937" y="457"/>
                  <a:pt x="903" y="450"/>
                </a:cubicBezTo>
                <a:cubicBezTo>
                  <a:pt x="860" y="441"/>
                  <a:pt x="815" y="451"/>
                  <a:pt x="775" y="463"/>
                </a:cubicBezTo>
                <a:cubicBezTo>
                  <a:pt x="767" y="465"/>
                  <a:pt x="759" y="468"/>
                  <a:pt x="751" y="470"/>
                </a:cubicBezTo>
              </a:path>
              <a:path w="1074" h="1584" extrusionOk="0">
                <a:moveTo>
                  <a:pt x="683" y="942"/>
                </a:moveTo>
                <a:cubicBezTo>
                  <a:pt x="704" y="916"/>
                  <a:pt x="703" y="908"/>
                  <a:pt x="698" y="874"/>
                </a:cubicBezTo>
                <a:cubicBezTo>
                  <a:pt x="692" y="835"/>
                  <a:pt x="713" y="909"/>
                  <a:pt x="716" y="919"/>
                </a:cubicBezTo>
                <a:cubicBezTo>
                  <a:pt x="724" y="949"/>
                  <a:pt x="728" y="965"/>
                  <a:pt x="748" y="987"/>
                </a:cubicBezTo>
                <a:cubicBezTo>
                  <a:pt x="779" y="964"/>
                  <a:pt x="788" y="942"/>
                  <a:pt x="801" y="905"/>
                </a:cubicBezTo>
                <a:cubicBezTo>
                  <a:pt x="814" y="869"/>
                  <a:pt x="821" y="830"/>
                  <a:pt x="821" y="792"/>
                </a:cubicBezTo>
                <a:cubicBezTo>
                  <a:pt x="820" y="771"/>
                  <a:pt x="820" y="765"/>
                  <a:pt x="813" y="752"/>
                </a:cubicBezTo>
                <a:cubicBezTo>
                  <a:pt x="826" y="790"/>
                  <a:pt x="849" y="805"/>
                  <a:pt x="886" y="824"/>
                </a:cubicBezTo>
                <a:cubicBezTo>
                  <a:pt x="891" y="826"/>
                  <a:pt x="896" y="829"/>
                  <a:pt x="901" y="831"/>
                </a:cubicBezTo>
                <a:cubicBezTo>
                  <a:pt x="870" y="853"/>
                  <a:pt x="870" y="866"/>
                  <a:pt x="868" y="905"/>
                </a:cubicBezTo>
                <a:cubicBezTo>
                  <a:pt x="867" y="929"/>
                  <a:pt x="867" y="952"/>
                  <a:pt x="860" y="975"/>
                </a:cubicBezTo>
                <a:cubicBezTo>
                  <a:pt x="853" y="999"/>
                  <a:pt x="843" y="1024"/>
                  <a:pt x="825" y="1042"/>
                </a:cubicBezTo>
                <a:cubicBezTo>
                  <a:pt x="804" y="1063"/>
                  <a:pt x="770" y="1098"/>
                  <a:pt x="746" y="1062"/>
                </a:cubicBezTo>
                <a:cubicBezTo>
                  <a:pt x="731" y="1039"/>
                  <a:pt x="732" y="1004"/>
                  <a:pt x="710" y="985"/>
                </a:cubicBezTo>
                <a:cubicBezTo>
                  <a:pt x="694" y="979"/>
                  <a:pt x="690" y="976"/>
                  <a:pt x="706" y="964"/>
                </a:cubicBezTo>
              </a:path>
            </a:pathLst>
          </a:custGeom>
          <a:noFill/>
          <a:ln w="19050" cap="rnd">
            <a:solidFill>
              <a:schemeClr val="tx1"/>
            </a:solidFill>
            <a:round/>
            <a:headEnd/>
            <a:tailEnd/>
          </a:ln>
        </p:spPr>
        <p:txBody>
          <a:bodyPr>
            <a:prstTxWarp prst="textNoShape">
              <a:avLst/>
            </a:prstTxWarp>
          </a:bodyPr>
          <a:lstStyle/>
          <a:p>
            <a:endParaRPr lang="en-US"/>
          </a:p>
        </p:txBody>
      </p:sp>
      <p:sp>
        <p:nvSpPr>
          <p:cNvPr id="38922" name="Freeform 17"/>
          <p:cNvSpPr>
            <a:spLocks noRot="1" noChangeAspect="1" noEditPoints="1" noChangeArrowheads="1" noChangeShapeType="1" noTextEdit="1"/>
          </p:cNvSpPr>
          <p:nvPr>
            <p:custDataLst>
              <p:tags r:id="rId10"/>
            </p:custDataLst>
          </p:nvPr>
        </p:nvSpPr>
        <p:spPr bwMode="auto">
          <a:xfrm>
            <a:off x="3143250" y="3011488"/>
            <a:ext cx="912813" cy="355600"/>
          </a:xfrm>
          <a:custGeom>
            <a:avLst/>
            <a:gdLst>
              <a:gd name="T0" fmla="*/ 290948 w 2535"/>
              <a:gd name="T1" fmla="*/ 306141 h 985"/>
              <a:gd name="T2" fmla="*/ 324076 w 2535"/>
              <a:gd name="T3" fmla="*/ 290978 h 985"/>
              <a:gd name="T4" fmla="*/ 383489 w 2535"/>
              <a:gd name="T5" fmla="*/ 277982 h 985"/>
              <a:gd name="T6" fmla="*/ 415897 w 2535"/>
              <a:gd name="T7" fmla="*/ 268956 h 985"/>
              <a:gd name="T8" fmla="*/ 409776 w 2535"/>
              <a:gd name="T9" fmla="*/ 283758 h 985"/>
              <a:gd name="T10" fmla="*/ 415177 w 2535"/>
              <a:gd name="T11" fmla="*/ 280870 h 985"/>
              <a:gd name="T12" fmla="*/ 421298 w 2535"/>
              <a:gd name="T13" fmla="*/ 282675 h 985"/>
              <a:gd name="T14" fmla="*/ 430300 w 2535"/>
              <a:gd name="T15" fmla="*/ 327441 h 985"/>
              <a:gd name="T16" fmla="*/ 450465 w 2535"/>
              <a:gd name="T17" fmla="*/ 307224 h 985"/>
              <a:gd name="T18" fmla="*/ 486474 w 2535"/>
              <a:gd name="T19" fmla="*/ 286646 h 985"/>
              <a:gd name="T20" fmla="*/ 536165 w 2535"/>
              <a:gd name="T21" fmla="*/ 268234 h 985"/>
              <a:gd name="T22" fmla="*/ 567492 w 2535"/>
              <a:gd name="T23" fmla="*/ 264624 h 985"/>
              <a:gd name="T24" fmla="*/ 573614 w 2535"/>
              <a:gd name="T25" fmla="*/ 261014 h 985"/>
              <a:gd name="T26" fmla="*/ 554169 w 2535"/>
              <a:gd name="T27" fmla="*/ 234660 h 985"/>
              <a:gd name="T28" fmla="*/ 542287 w 2535"/>
              <a:gd name="T29" fmla="*/ 163901 h 985"/>
              <a:gd name="T30" fmla="*/ 579015 w 2535"/>
              <a:gd name="T31" fmla="*/ 141518 h 985"/>
              <a:gd name="T32" fmla="*/ 608902 w 2535"/>
              <a:gd name="T33" fmla="*/ 182313 h 985"/>
              <a:gd name="T34" fmla="*/ 610703 w 2535"/>
              <a:gd name="T35" fmla="*/ 215526 h 985"/>
              <a:gd name="T36" fmla="*/ 619705 w 2535"/>
              <a:gd name="T37" fmla="*/ 256321 h 985"/>
              <a:gd name="T38" fmla="*/ 6121 w 2535"/>
              <a:gd name="T39" fmla="*/ 349102 h 985"/>
              <a:gd name="T40" fmla="*/ 20525 w 2535"/>
              <a:gd name="T41" fmla="*/ 342603 h 985"/>
              <a:gd name="T42" fmla="*/ 93622 w 2535"/>
              <a:gd name="T43" fmla="*/ 346214 h 985"/>
              <a:gd name="T44" fmla="*/ 374847 w 2535"/>
              <a:gd name="T45" fmla="*/ 282675 h 985"/>
              <a:gd name="T46" fmla="*/ 554169 w 2535"/>
              <a:gd name="T47" fmla="*/ 258487 h 985"/>
              <a:gd name="T48" fmla="*/ 703604 w 2535"/>
              <a:gd name="T49" fmla="*/ 256321 h 985"/>
              <a:gd name="T50" fmla="*/ 781022 w 2535"/>
              <a:gd name="T51" fmla="*/ 220941 h 985"/>
              <a:gd name="T52" fmla="*/ 760858 w 2535"/>
              <a:gd name="T53" fmla="*/ 220941 h 985"/>
              <a:gd name="T54" fmla="*/ 621505 w 2535"/>
              <a:gd name="T55" fmla="*/ 177619 h 985"/>
              <a:gd name="T56" fmla="*/ 654633 w 2535"/>
              <a:gd name="T57" fmla="*/ 164262 h 985"/>
              <a:gd name="T58" fmla="*/ 689921 w 2535"/>
              <a:gd name="T59" fmla="*/ 142240 h 985"/>
              <a:gd name="T60" fmla="*/ 712606 w 2535"/>
              <a:gd name="T61" fmla="*/ 127077 h 985"/>
              <a:gd name="T62" fmla="*/ 617184 w 2535"/>
              <a:gd name="T63" fmla="*/ 242963 h 985"/>
              <a:gd name="T64" fmla="*/ 611423 w 2535"/>
              <a:gd name="T65" fmla="*/ 249462 h 985"/>
              <a:gd name="T66" fmla="*/ 634108 w 2535"/>
              <a:gd name="T67" fmla="*/ 224912 h 985"/>
              <a:gd name="T68" fmla="*/ 669036 w 2535"/>
              <a:gd name="T69" fmla="*/ 212999 h 985"/>
              <a:gd name="T70" fmla="*/ 715127 w 2535"/>
              <a:gd name="T71" fmla="*/ 193865 h 985"/>
              <a:gd name="T72" fmla="*/ 748615 w 2535"/>
              <a:gd name="T73" fmla="*/ 173287 h 985"/>
              <a:gd name="T74" fmla="*/ 754736 w 2535"/>
              <a:gd name="T75" fmla="*/ 173287 h 985"/>
              <a:gd name="T76" fmla="*/ 744654 w 2535"/>
              <a:gd name="T77" fmla="*/ 30686 h 985"/>
              <a:gd name="T78" fmla="*/ 772740 w 2535"/>
              <a:gd name="T79" fmla="*/ 13358 h 985"/>
              <a:gd name="T80" fmla="*/ 807668 w 2535"/>
              <a:gd name="T81" fmla="*/ 722 h 985"/>
              <a:gd name="T82" fmla="*/ 831434 w 2535"/>
              <a:gd name="T83" fmla="*/ 12636 h 985"/>
              <a:gd name="T84" fmla="*/ 815950 w 2535"/>
              <a:gd name="T85" fmla="*/ 35379 h 985"/>
              <a:gd name="T86" fmla="*/ 770940 w 2535"/>
              <a:gd name="T87" fmla="*/ 88088 h 985"/>
              <a:gd name="T88" fmla="*/ 806948 w 2535"/>
              <a:gd name="T89" fmla="*/ 86283 h 985"/>
              <a:gd name="T90" fmla="*/ 836475 w 2535"/>
              <a:gd name="T91" fmla="*/ 83395 h 985"/>
              <a:gd name="T92" fmla="*/ 826033 w 2535"/>
              <a:gd name="T93" fmla="*/ 93142 h 985"/>
              <a:gd name="T94" fmla="*/ 790745 w 2535"/>
              <a:gd name="T95" fmla="*/ 124189 h 985"/>
              <a:gd name="T96" fmla="*/ 796866 w 2535"/>
              <a:gd name="T97" fmla="*/ 124189 h 985"/>
              <a:gd name="T98" fmla="*/ 838276 w 2535"/>
              <a:gd name="T99" fmla="*/ 123467 h 985"/>
              <a:gd name="T100" fmla="*/ 827473 w 2535"/>
              <a:gd name="T101" fmla="*/ 153070 h 985"/>
              <a:gd name="T102" fmla="*/ 831074 w 2535"/>
              <a:gd name="T103" fmla="*/ 181230 h 985"/>
              <a:gd name="T104" fmla="*/ 902731 w 2535"/>
              <a:gd name="T105" fmla="*/ 170399 h 985"/>
              <a:gd name="T106" fmla="*/ 912453 w 2535"/>
              <a:gd name="T107" fmla="*/ 183035 h 98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535"/>
              <a:gd name="T163" fmla="*/ 0 h 985"/>
              <a:gd name="T164" fmla="*/ 2535 w 2535"/>
              <a:gd name="T165" fmla="*/ 985 h 98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535" h="985" extrusionOk="0">
                <a:moveTo>
                  <a:pt x="808" y="848"/>
                </a:moveTo>
                <a:cubicBezTo>
                  <a:pt x="840" y="827"/>
                  <a:pt x="862" y="811"/>
                  <a:pt x="900" y="806"/>
                </a:cubicBezTo>
                <a:cubicBezTo>
                  <a:pt x="957" y="798"/>
                  <a:pt x="1010" y="790"/>
                  <a:pt x="1065" y="770"/>
                </a:cubicBezTo>
                <a:cubicBezTo>
                  <a:pt x="1084" y="763"/>
                  <a:pt x="1134" y="739"/>
                  <a:pt x="1155" y="745"/>
                </a:cubicBezTo>
                <a:cubicBezTo>
                  <a:pt x="1214" y="762"/>
                  <a:pt x="1145" y="767"/>
                  <a:pt x="1138" y="786"/>
                </a:cubicBezTo>
                <a:cubicBezTo>
                  <a:pt x="1143" y="783"/>
                  <a:pt x="1148" y="781"/>
                  <a:pt x="1153" y="778"/>
                </a:cubicBezTo>
                <a:cubicBezTo>
                  <a:pt x="1159" y="780"/>
                  <a:pt x="1164" y="781"/>
                  <a:pt x="1170" y="783"/>
                </a:cubicBezTo>
                <a:cubicBezTo>
                  <a:pt x="1181" y="824"/>
                  <a:pt x="1184" y="866"/>
                  <a:pt x="1195" y="907"/>
                </a:cubicBezTo>
                <a:cubicBezTo>
                  <a:pt x="1220" y="891"/>
                  <a:pt x="1229" y="882"/>
                  <a:pt x="1251" y="851"/>
                </a:cubicBezTo>
                <a:cubicBezTo>
                  <a:pt x="1272" y="822"/>
                  <a:pt x="1320" y="810"/>
                  <a:pt x="1351" y="794"/>
                </a:cubicBezTo>
                <a:cubicBezTo>
                  <a:pt x="1394" y="772"/>
                  <a:pt x="1440" y="749"/>
                  <a:pt x="1489" y="743"/>
                </a:cubicBezTo>
                <a:cubicBezTo>
                  <a:pt x="1518" y="739"/>
                  <a:pt x="1548" y="744"/>
                  <a:pt x="1576" y="733"/>
                </a:cubicBezTo>
                <a:cubicBezTo>
                  <a:pt x="1582" y="730"/>
                  <a:pt x="1587" y="726"/>
                  <a:pt x="1593" y="723"/>
                </a:cubicBezTo>
                <a:cubicBezTo>
                  <a:pt x="1579" y="705"/>
                  <a:pt x="1554" y="676"/>
                  <a:pt x="1539" y="650"/>
                </a:cubicBezTo>
                <a:cubicBezTo>
                  <a:pt x="1508" y="596"/>
                  <a:pt x="1481" y="516"/>
                  <a:pt x="1506" y="454"/>
                </a:cubicBezTo>
                <a:cubicBezTo>
                  <a:pt x="1519" y="422"/>
                  <a:pt x="1577" y="378"/>
                  <a:pt x="1608" y="392"/>
                </a:cubicBezTo>
                <a:cubicBezTo>
                  <a:pt x="1629" y="401"/>
                  <a:pt x="1685" y="481"/>
                  <a:pt x="1691" y="505"/>
                </a:cubicBezTo>
                <a:cubicBezTo>
                  <a:pt x="1699" y="534"/>
                  <a:pt x="1696" y="568"/>
                  <a:pt x="1696" y="597"/>
                </a:cubicBezTo>
                <a:cubicBezTo>
                  <a:pt x="1696" y="646"/>
                  <a:pt x="1702" y="669"/>
                  <a:pt x="1721" y="710"/>
                </a:cubicBezTo>
              </a:path>
              <a:path w="2535" h="985" extrusionOk="0">
                <a:moveTo>
                  <a:pt x="17" y="967"/>
                </a:moveTo>
                <a:cubicBezTo>
                  <a:pt x="41" y="946"/>
                  <a:pt x="25" y="952"/>
                  <a:pt x="57" y="949"/>
                </a:cubicBezTo>
                <a:cubicBezTo>
                  <a:pt x="124" y="944"/>
                  <a:pt x="193" y="959"/>
                  <a:pt x="260" y="959"/>
                </a:cubicBezTo>
                <a:cubicBezTo>
                  <a:pt x="525" y="957"/>
                  <a:pt x="789" y="853"/>
                  <a:pt x="1041" y="783"/>
                </a:cubicBezTo>
                <a:cubicBezTo>
                  <a:pt x="1208" y="737"/>
                  <a:pt x="1366" y="705"/>
                  <a:pt x="1539" y="716"/>
                </a:cubicBezTo>
                <a:cubicBezTo>
                  <a:pt x="1684" y="725"/>
                  <a:pt x="1812" y="752"/>
                  <a:pt x="1954" y="710"/>
                </a:cubicBezTo>
                <a:cubicBezTo>
                  <a:pt x="2031" y="687"/>
                  <a:pt x="2099" y="651"/>
                  <a:pt x="2169" y="612"/>
                </a:cubicBezTo>
                <a:cubicBezTo>
                  <a:pt x="2115" y="628"/>
                  <a:pt x="2151" y="619"/>
                  <a:pt x="2113" y="612"/>
                </a:cubicBezTo>
              </a:path>
              <a:path w="2535" h="985" extrusionOk="0">
                <a:moveTo>
                  <a:pt x="1726" y="492"/>
                </a:moveTo>
                <a:cubicBezTo>
                  <a:pt x="1760" y="488"/>
                  <a:pt x="1787" y="473"/>
                  <a:pt x="1818" y="455"/>
                </a:cubicBezTo>
                <a:cubicBezTo>
                  <a:pt x="1851" y="435"/>
                  <a:pt x="1883" y="415"/>
                  <a:pt x="1916" y="394"/>
                </a:cubicBezTo>
                <a:cubicBezTo>
                  <a:pt x="1937" y="380"/>
                  <a:pt x="1958" y="366"/>
                  <a:pt x="1979" y="352"/>
                </a:cubicBezTo>
              </a:path>
              <a:path w="2535" h="985" extrusionOk="0">
                <a:moveTo>
                  <a:pt x="1714" y="673"/>
                </a:moveTo>
                <a:cubicBezTo>
                  <a:pt x="1709" y="679"/>
                  <a:pt x="1703" y="685"/>
                  <a:pt x="1698" y="691"/>
                </a:cubicBezTo>
                <a:cubicBezTo>
                  <a:pt x="1712" y="661"/>
                  <a:pt x="1729" y="638"/>
                  <a:pt x="1761" y="623"/>
                </a:cubicBezTo>
                <a:cubicBezTo>
                  <a:pt x="1792" y="609"/>
                  <a:pt x="1826" y="600"/>
                  <a:pt x="1858" y="590"/>
                </a:cubicBezTo>
                <a:cubicBezTo>
                  <a:pt x="1901" y="576"/>
                  <a:pt x="1946" y="558"/>
                  <a:pt x="1986" y="537"/>
                </a:cubicBezTo>
                <a:cubicBezTo>
                  <a:pt x="2015" y="522"/>
                  <a:pt x="2049" y="490"/>
                  <a:pt x="2079" y="480"/>
                </a:cubicBezTo>
                <a:cubicBezTo>
                  <a:pt x="2085" y="480"/>
                  <a:pt x="2090" y="480"/>
                  <a:pt x="2096" y="480"/>
                </a:cubicBezTo>
              </a:path>
              <a:path w="2535" h="985" extrusionOk="0">
                <a:moveTo>
                  <a:pt x="2068" y="85"/>
                </a:moveTo>
                <a:cubicBezTo>
                  <a:pt x="2091" y="67"/>
                  <a:pt x="2120" y="48"/>
                  <a:pt x="2146" y="37"/>
                </a:cubicBezTo>
                <a:cubicBezTo>
                  <a:pt x="2176" y="25"/>
                  <a:pt x="2211" y="9"/>
                  <a:pt x="2243" y="2"/>
                </a:cubicBezTo>
                <a:cubicBezTo>
                  <a:pt x="2273" y="-5"/>
                  <a:pt x="2315" y="-6"/>
                  <a:pt x="2309" y="35"/>
                </a:cubicBezTo>
                <a:cubicBezTo>
                  <a:pt x="2306" y="56"/>
                  <a:pt x="2278" y="82"/>
                  <a:pt x="2266" y="98"/>
                </a:cubicBezTo>
              </a:path>
              <a:path w="2535" h="985" extrusionOk="0">
                <a:moveTo>
                  <a:pt x="2141" y="244"/>
                </a:moveTo>
                <a:cubicBezTo>
                  <a:pt x="2176" y="246"/>
                  <a:pt x="2207" y="242"/>
                  <a:pt x="2241" y="239"/>
                </a:cubicBezTo>
                <a:cubicBezTo>
                  <a:pt x="2246" y="239"/>
                  <a:pt x="2323" y="229"/>
                  <a:pt x="2323" y="231"/>
                </a:cubicBezTo>
                <a:cubicBezTo>
                  <a:pt x="2311" y="250"/>
                  <a:pt x="2309" y="256"/>
                  <a:pt x="2294" y="258"/>
                </a:cubicBezTo>
              </a:path>
              <a:path w="2535" h="985" extrusionOk="0">
                <a:moveTo>
                  <a:pt x="2196" y="344"/>
                </a:moveTo>
                <a:cubicBezTo>
                  <a:pt x="2202" y="344"/>
                  <a:pt x="2207" y="344"/>
                  <a:pt x="2213" y="344"/>
                </a:cubicBezTo>
              </a:path>
              <a:path w="2535" h="985" extrusionOk="0">
                <a:moveTo>
                  <a:pt x="2328" y="342"/>
                </a:moveTo>
                <a:cubicBezTo>
                  <a:pt x="2325" y="377"/>
                  <a:pt x="2308" y="393"/>
                  <a:pt x="2298" y="424"/>
                </a:cubicBezTo>
                <a:cubicBezTo>
                  <a:pt x="2291" y="447"/>
                  <a:pt x="2302" y="480"/>
                  <a:pt x="2308" y="502"/>
                </a:cubicBezTo>
              </a:path>
              <a:path w="2535" h="985" extrusionOk="0">
                <a:moveTo>
                  <a:pt x="2507" y="472"/>
                </a:moveTo>
                <a:cubicBezTo>
                  <a:pt x="2524" y="488"/>
                  <a:pt x="2529" y="492"/>
                  <a:pt x="2534" y="507"/>
                </a:cubicBezTo>
              </a:path>
            </a:pathLst>
          </a:custGeom>
          <a:noFill/>
          <a:ln w="19050" cap="rnd">
            <a:solidFill>
              <a:schemeClr val="tx1"/>
            </a:solidFill>
            <a:round/>
            <a:headEnd/>
            <a:tailEnd/>
          </a:ln>
        </p:spPr>
        <p:txBody>
          <a:bodyPr>
            <a:prstTxWarp prst="textNoShape">
              <a:avLst/>
            </a:prstTxWarp>
          </a:bodyPr>
          <a:lstStyle/>
          <a:p>
            <a:endParaRPr lang="en-US"/>
          </a:p>
        </p:txBody>
      </p:sp>
      <p:sp>
        <p:nvSpPr>
          <p:cNvPr id="38923" name="Freeform 21"/>
          <p:cNvSpPr>
            <a:spLocks noRot="1" noChangeAspect="1" noEditPoints="1" noChangeArrowheads="1" noChangeShapeType="1" noTextEdit="1"/>
          </p:cNvSpPr>
          <p:nvPr>
            <p:custDataLst>
              <p:tags r:id="rId11"/>
            </p:custDataLst>
          </p:nvPr>
        </p:nvSpPr>
        <p:spPr bwMode="auto">
          <a:xfrm>
            <a:off x="6527800" y="2341563"/>
            <a:ext cx="571500" cy="327025"/>
          </a:xfrm>
          <a:custGeom>
            <a:avLst/>
            <a:gdLst>
              <a:gd name="T0" fmla="*/ 92909 w 1587"/>
              <a:gd name="T1" fmla="*/ 63528 h 906"/>
              <a:gd name="T2" fmla="*/ 94710 w 1587"/>
              <a:gd name="T3" fmla="*/ 57392 h 906"/>
              <a:gd name="T4" fmla="*/ 96510 w 1587"/>
              <a:gd name="T5" fmla="*/ 89156 h 906"/>
              <a:gd name="T6" fmla="*/ 99031 w 1587"/>
              <a:gd name="T7" fmla="*/ 170732 h 906"/>
              <a:gd name="T8" fmla="*/ 99751 w 1587"/>
              <a:gd name="T9" fmla="*/ 273965 h 906"/>
              <a:gd name="T10" fmla="*/ 99751 w 1587"/>
              <a:gd name="T11" fmla="*/ 326664 h 906"/>
              <a:gd name="T12" fmla="*/ 101912 w 1587"/>
              <a:gd name="T13" fmla="*/ 321250 h 906"/>
              <a:gd name="T14" fmla="*/ 0 w 1587"/>
              <a:gd name="T15" fmla="*/ 50895 h 906"/>
              <a:gd name="T16" fmla="*/ 29529 w 1587"/>
              <a:gd name="T17" fmla="*/ 35374 h 906"/>
              <a:gd name="T18" fmla="*/ 83546 w 1587"/>
              <a:gd name="T19" fmla="*/ 23823 h 906"/>
              <a:gd name="T20" fmla="*/ 147647 w 1587"/>
              <a:gd name="T21" fmla="*/ 23101 h 906"/>
              <a:gd name="T22" fmla="*/ 194461 w 1587"/>
              <a:gd name="T23" fmla="*/ 37539 h 906"/>
              <a:gd name="T24" fmla="*/ 218949 w 1587"/>
              <a:gd name="T25" fmla="*/ 59197 h 906"/>
              <a:gd name="T26" fmla="*/ 216788 w 1587"/>
              <a:gd name="T27" fmla="*/ 97458 h 906"/>
              <a:gd name="T28" fmla="*/ 204544 w 1587"/>
              <a:gd name="T29" fmla="*/ 180477 h 906"/>
              <a:gd name="T30" fmla="*/ 197342 w 1587"/>
              <a:gd name="T31" fmla="*/ 284793 h 906"/>
              <a:gd name="T32" fmla="*/ 200583 w 1587"/>
              <a:gd name="T33" fmla="*/ 301758 h 906"/>
              <a:gd name="T34" fmla="*/ 212467 w 1587"/>
              <a:gd name="T35" fmla="*/ 274687 h 906"/>
              <a:gd name="T36" fmla="*/ 309698 w 1587"/>
              <a:gd name="T37" fmla="*/ 0 h 906"/>
              <a:gd name="T38" fmla="*/ 316180 w 1587"/>
              <a:gd name="T39" fmla="*/ 36456 h 906"/>
              <a:gd name="T40" fmla="*/ 322302 w 1587"/>
              <a:gd name="T41" fmla="*/ 103594 h 906"/>
              <a:gd name="T42" fmla="*/ 328784 w 1587"/>
              <a:gd name="T43" fmla="*/ 173258 h 906"/>
              <a:gd name="T44" fmla="*/ 326983 w 1587"/>
              <a:gd name="T45" fmla="*/ 221987 h 906"/>
              <a:gd name="T46" fmla="*/ 325182 w 1587"/>
              <a:gd name="T47" fmla="*/ 227041 h 906"/>
              <a:gd name="T48" fmla="*/ 202384 w 1587"/>
              <a:gd name="T49" fmla="*/ 134997 h 906"/>
              <a:gd name="T50" fmla="*/ 195181 w 1587"/>
              <a:gd name="T51" fmla="*/ 137163 h 906"/>
              <a:gd name="T52" fmla="*/ 239475 w 1587"/>
              <a:gd name="T53" fmla="*/ 124168 h 906"/>
              <a:gd name="T54" fmla="*/ 322302 w 1587"/>
              <a:gd name="T55" fmla="*/ 94209 h 906"/>
              <a:gd name="T56" fmla="*/ 396125 w 1587"/>
              <a:gd name="T57" fmla="*/ 81937 h 906"/>
              <a:gd name="T58" fmla="*/ 432136 w 1587"/>
              <a:gd name="T59" fmla="*/ 113701 h 906"/>
              <a:gd name="T60" fmla="*/ 436097 w 1587"/>
              <a:gd name="T61" fmla="*/ 153406 h 906"/>
              <a:gd name="T62" fmla="*/ 437538 w 1587"/>
              <a:gd name="T63" fmla="*/ 204300 h 906"/>
              <a:gd name="T64" fmla="*/ 442940 w 1587"/>
              <a:gd name="T65" fmla="*/ 247615 h 906"/>
              <a:gd name="T66" fmla="*/ 451942 w 1587"/>
              <a:gd name="T67" fmla="*/ 242923 h 906"/>
              <a:gd name="T68" fmla="*/ 416291 w 1587"/>
              <a:gd name="T69" fmla="*/ 41871 h 906"/>
              <a:gd name="T70" fmla="*/ 442940 w 1587"/>
              <a:gd name="T71" fmla="*/ 29237 h 906"/>
              <a:gd name="T72" fmla="*/ 481112 w 1587"/>
              <a:gd name="T73" fmla="*/ 17326 h 906"/>
              <a:gd name="T74" fmla="*/ 523965 w 1587"/>
              <a:gd name="T75" fmla="*/ 12272 h 906"/>
              <a:gd name="T76" fmla="*/ 543771 w 1587"/>
              <a:gd name="T77" fmla="*/ 29237 h 906"/>
              <a:gd name="T78" fmla="*/ 412330 w 1587"/>
              <a:gd name="T79" fmla="*/ 163152 h 906"/>
              <a:gd name="T80" fmla="*/ 446541 w 1587"/>
              <a:gd name="T81" fmla="*/ 151601 h 906"/>
              <a:gd name="T82" fmla="*/ 522525 w 1587"/>
              <a:gd name="T83" fmla="*/ 115506 h 906"/>
              <a:gd name="T84" fmla="*/ 571140 w 1587"/>
              <a:gd name="T85" fmla="*/ 97097 h 906"/>
              <a:gd name="T86" fmla="*/ 569339 w 1587"/>
              <a:gd name="T87" fmla="*/ 106121 h 906"/>
              <a:gd name="T88" fmla="*/ 421693 w 1587"/>
              <a:gd name="T89" fmla="*/ 282267 h 906"/>
              <a:gd name="T90" fmla="*/ 452302 w 1587"/>
              <a:gd name="T91" fmla="*/ 280462 h 906"/>
              <a:gd name="T92" fmla="*/ 503439 w 1587"/>
              <a:gd name="T93" fmla="*/ 257722 h 906"/>
              <a:gd name="T94" fmla="*/ 540530 w 1587"/>
              <a:gd name="T95" fmla="*/ 251946 h 90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87"/>
              <a:gd name="T145" fmla="*/ 0 h 906"/>
              <a:gd name="T146" fmla="*/ 1587 w 1587"/>
              <a:gd name="T147" fmla="*/ 906 h 90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87" h="906" extrusionOk="0">
                <a:moveTo>
                  <a:pt x="258" y="176"/>
                </a:moveTo>
                <a:cubicBezTo>
                  <a:pt x="260" y="170"/>
                  <a:pt x="261" y="165"/>
                  <a:pt x="263" y="159"/>
                </a:cubicBezTo>
                <a:cubicBezTo>
                  <a:pt x="268" y="188"/>
                  <a:pt x="268" y="217"/>
                  <a:pt x="268" y="247"/>
                </a:cubicBezTo>
                <a:cubicBezTo>
                  <a:pt x="269" y="322"/>
                  <a:pt x="273" y="398"/>
                  <a:pt x="275" y="473"/>
                </a:cubicBezTo>
                <a:cubicBezTo>
                  <a:pt x="278" y="568"/>
                  <a:pt x="275" y="664"/>
                  <a:pt x="277" y="759"/>
                </a:cubicBezTo>
                <a:cubicBezTo>
                  <a:pt x="277" y="762"/>
                  <a:pt x="271" y="904"/>
                  <a:pt x="277" y="905"/>
                </a:cubicBezTo>
                <a:cubicBezTo>
                  <a:pt x="279" y="900"/>
                  <a:pt x="281" y="895"/>
                  <a:pt x="283" y="890"/>
                </a:cubicBezTo>
              </a:path>
              <a:path w="1587" h="906" extrusionOk="0">
                <a:moveTo>
                  <a:pt x="0" y="141"/>
                </a:moveTo>
                <a:cubicBezTo>
                  <a:pt x="22" y="127"/>
                  <a:pt x="48" y="107"/>
                  <a:pt x="82" y="98"/>
                </a:cubicBezTo>
                <a:cubicBezTo>
                  <a:pt x="131" y="85"/>
                  <a:pt x="181" y="73"/>
                  <a:pt x="232" y="66"/>
                </a:cubicBezTo>
                <a:cubicBezTo>
                  <a:pt x="291" y="58"/>
                  <a:pt x="351" y="56"/>
                  <a:pt x="410" y="64"/>
                </a:cubicBezTo>
                <a:cubicBezTo>
                  <a:pt x="454" y="70"/>
                  <a:pt x="500" y="84"/>
                  <a:pt x="540" y="104"/>
                </a:cubicBezTo>
                <a:cubicBezTo>
                  <a:pt x="564" y="116"/>
                  <a:pt x="600" y="137"/>
                  <a:pt x="608" y="164"/>
                </a:cubicBezTo>
                <a:cubicBezTo>
                  <a:pt x="617" y="196"/>
                  <a:pt x="606" y="238"/>
                  <a:pt x="602" y="270"/>
                </a:cubicBezTo>
                <a:cubicBezTo>
                  <a:pt x="592" y="347"/>
                  <a:pt x="577" y="423"/>
                  <a:pt x="568" y="500"/>
                </a:cubicBezTo>
                <a:cubicBezTo>
                  <a:pt x="556" y="596"/>
                  <a:pt x="542" y="692"/>
                  <a:pt x="548" y="789"/>
                </a:cubicBezTo>
                <a:cubicBezTo>
                  <a:pt x="550" y="813"/>
                  <a:pt x="550" y="821"/>
                  <a:pt x="557" y="836"/>
                </a:cubicBezTo>
                <a:cubicBezTo>
                  <a:pt x="574" y="806"/>
                  <a:pt x="581" y="799"/>
                  <a:pt x="590" y="761"/>
                </a:cubicBezTo>
              </a:path>
              <a:path w="1587" h="906" extrusionOk="0">
                <a:moveTo>
                  <a:pt x="860" y="0"/>
                </a:moveTo>
                <a:cubicBezTo>
                  <a:pt x="882" y="37"/>
                  <a:pt x="876" y="59"/>
                  <a:pt x="878" y="101"/>
                </a:cubicBezTo>
                <a:cubicBezTo>
                  <a:pt x="881" y="163"/>
                  <a:pt x="889" y="225"/>
                  <a:pt x="895" y="287"/>
                </a:cubicBezTo>
                <a:cubicBezTo>
                  <a:pt x="901" y="350"/>
                  <a:pt x="912" y="416"/>
                  <a:pt x="913" y="480"/>
                </a:cubicBezTo>
                <a:cubicBezTo>
                  <a:pt x="913" y="525"/>
                  <a:pt x="918" y="570"/>
                  <a:pt x="908" y="615"/>
                </a:cubicBezTo>
                <a:cubicBezTo>
                  <a:pt x="906" y="620"/>
                  <a:pt x="905" y="624"/>
                  <a:pt x="903" y="629"/>
                </a:cubicBezTo>
              </a:path>
              <a:path w="1587" h="906" extrusionOk="0">
                <a:moveTo>
                  <a:pt x="562" y="374"/>
                </a:moveTo>
                <a:cubicBezTo>
                  <a:pt x="555" y="376"/>
                  <a:pt x="549" y="378"/>
                  <a:pt x="542" y="380"/>
                </a:cubicBezTo>
                <a:cubicBezTo>
                  <a:pt x="583" y="368"/>
                  <a:pt x="625" y="361"/>
                  <a:pt x="665" y="344"/>
                </a:cubicBezTo>
                <a:cubicBezTo>
                  <a:pt x="741" y="312"/>
                  <a:pt x="815" y="284"/>
                  <a:pt x="895" y="261"/>
                </a:cubicBezTo>
                <a:cubicBezTo>
                  <a:pt x="962" y="242"/>
                  <a:pt x="1030" y="217"/>
                  <a:pt x="1100" y="227"/>
                </a:cubicBezTo>
                <a:cubicBezTo>
                  <a:pt x="1150" y="234"/>
                  <a:pt x="1184" y="269"/>
                  <a:pt x="1200" y="315"/>
                </a:cubicBezTo>
                <a:cubicBezTo>
                  <a:pt x="1212" y="350"/>
                  <a:pt x="1209" y="389"/>
                  <a:pt x="1211" y="425"/>
                </a:cubicBezTo>
                <a:cubicBezTo>
                  <a:pt x="1213" y="472"/>
                  <a:pt x="1214" y="519"/>
                  <a:pt x="1215" y="566"/>
                </a:cubicBezTo>
                <a:cubicBezTo>
                  <a:pt x="1216" y="599"/>
                  <a:pt x="1214" y="655"/>
                  <a:pt x="1230" y="686"/>
                </a:cubicBezTo>
                <a:cubicBezTo>
                  <a:pt x="1248" y="722"/>
                  <a:pt x="1238" y="710"/>
                  <a:pt x="1255" y="673"/>
                </a:cubicBezTo>
              </a:path>
              <a:path w="1587" h="906" extrusionOk="0">
                <a:moveTo>
                  <a:pt x="1156" y="116"/>
                </a:moveTo>
                <a:cubicBezTo>
                  <a:pt x="1182" y="99"/>
                  <a:pt x="1204" y="92"/>
                  <a:pt x="1230" y="81"/>
                </a:cubicBezTo>
                <a:cubicBezTo>
                  <a:pt x="1264" y="66"/>
                  <a:pt x="1299" y="57"/>
                  <a:pt x="1336" y="48"/>
                </a:cubicBezTo>
                <a:cubicBezTo>
                  <a:pt x="1374" y="39"/>
                  <a:pt x="1416" y="31"/>
                  <a:pt x="1455" y="34"/>
                </a:cubicBezTo>
                <a:cubicBezTo>
                  <a:pt x="1497" y="37"/>
                  <a:pt x="1516" y="38"/>
                  <a:pt x="1510" y="81"/>
                </a:cubicBezTo>
              </a:path>
              <a:path w="1587" h="906" extrusionOk="0">
                <a:moveTo>
                  <a:pt x="1145" y="452"/>
                </a:moveTo>
                <a:cubicBezTo>
                  <a:pt x="1149" y="482"/>
                  <a:pt x="1200" y="440"/>
                  <a:pt x="1240" y="420"/>
                </a:cubicBezTo>
                <a:cubicBezTo>
                  <a:pt x="1310" y="386"/>
                  <a:pt x="1380" y="353"/>
                  <a:pt x="1451" y="320"/>
                </a:cubicBezTo>
                <a:cubicBezTo>
                  <a:pt x="1461" y="315"/>
                  <a:pt x="1579" y="259"/>
                  <a:pt x="1586" y="269"/>
                </a:cubicBezTo>
                <a:cubicBezTo>
                  <a:pt x="1584" y="277"/>
                  <a:pt x="1583" y="286"/>
                  <a:pt x="1581" y="294"/>
                </a:cubicBezTo>
              </a:path>
              <a:path w="1587" h="906" extrusionOk="0">
                <a:moveTo>
                  <a:pt x="1171" y="782"/>
                </a:moveTo>
                <a:cubicBezTo>
                  <a:pt x="1197" y="810"/>
                  <a:pt x="1217" y="794"/>
                  <a:pt x="1256" y="777"/>
                </a:cubicBezTo>
                <a:cubicBezTo>
                  <a:pt x="1303" y="756"/>
                  <a:pt x="1351" y="734"/>
                  <a:pt x="1398" y="714"/>
                </a:cubicBezTo>
                <a:cubicBezTo>
                  <a:pt x="1432" y="700"/>
                  <a:pt x="1465" y="696"/>
                  <a:pt x="1501" y="698"/>
                </a:cubicBezTo>
              </a:path>
            </a:pathLst>
          </a:custGeom>
          <a:noFill/>
          <a:ln w="19050" cap="rnd">
            <a:solidFill>
              <a:schemeClr val="tx1"/>
            </a:solidFill>
            <a:round/>
            <a:headEnd/>
            <a:tailEnd/>
          </a:ln>
        </p:spPr>
        <p:txBody>
          <a:bodyPr>
            <a:prstTxWarp prst="textNoShape">
              <a:avLst/>
            </a:prstTxWarp>
          </a:bodyPr>
          <a:lstStyle/>
          <a:p>
            <a:endParaRPr lang="en-US"/>
          </a:p>
        </p:txBody>
      </p:sp>
      <p:sp>
        <p:nvSpPr>
          <p:cNvPr id="38924" name="Freeform 22"/>
          <p:cNvSpPr>
            <a:spLocks noRot="1" noChangeAspect="1" noEditPoints="1" noChangeArrowheads="1" noChangeShapeType="1" noTextEdit="1"/>
          </p:cNvSpPr>
          <p:nvPr>
            <p:custDataLst>
              <p:tags r:id="rId12"/>
            </p:custDataLst>
          </p:nvPr>
        </p:nvSpPr>
        <p:spPr bwMode="auto">
          <a:xfrm>
            <a:off x="6413500" y="2817813"/>
            <a:ext cx="917575" cy="244475"/>
          </a:xfrm>
          <a:custGeom>
            <a:avLst/>
            <a:gdLst>
              <a:gd name="T0" fmla="*/ 1080 w 2550"/>
              <a:gd name="T1" fmla="*/ 49184 h 676"/>
              <a:gd name="T2" fmla="*/ 8276 w 2550"/>
              <a:gd name="T3" fmla="*/ 84988 h 676"/>
              <a:gd name="T4" fmla="*/ 29866 w 2550"/>
              <a:gd name="T5" fmla="*/ 154424 h 676"/>
              <a:gd name="T6" fmla="*/ 74486 w 2550"/>
              <a:gd name="T7" fmla="*/ 233264 h 676"/>
              <a:gd name="T8" fmla="*/ 122343 w 2550"/>
              <a:gd name="T9" fmla="*/ 239774 h 676"/>
              <a:gd name="T10" fmla="*/ 164444 w 2550"/>
              <a:gd name="T11" fmla="*/ 187696 h 676"/>
              <a:gd name="T12" fmla="*/ 182436 w 2550"/>
              <a:gd name="T13" fmla="*/ 99815 h 676"/>
              <a:gd name="T14" fmla="*/ 173440 w 2550"/>
              <a:gd name="T15" fmla="*/ 33272 h 676"/>
              <a:gd name="T16" fmla="*/ 164804 w 2550"/>
              <a:gd name="T17" fmla="*/ 23507 h 676"/>
              <a:gd name="T18" fmla="*/ 293984 w 2550"/>
              <a:gd name="T19" fmla="*/ 14466 h 676"/>
              <a:gd name="T20" fmla="*/ 270955 w 2550"/>
              <a:gd name="T21" fmla="*/ 33272 h 676"/>
              <a:gd name="T22" fmla="*/ 268796 w 2550"/>
              <a:gd name="T23" fmla="*/ 58949 h 676"/>
              <a:gd name="T24" fmla="*/ 302260 w 2550"/>
              <a:gd name="T25" fmla="*/ 66182 h 676"/>
              <a:gd name="T26" fmla="*/ 340762 w 2550"/>
              <a:gd name="T27" fmla="*/ 87881 h 676"/>
              <a:gd name="T28" fmla="*/ 342561 w 2550"/>
              <a:gd name="T29" fmla="*/ 156233 h 676"/>
              <a:gd name="T30" fmla="*/ 308737 w 2550"/>
              <a:gd name="T31" fmla="*/ 189866 h 676"/>
              <a:gd name="T32" fmla="*/ 290745 w 2550"/>
              <a:gd name="T33" fmla="*/ 192397 h 676"/>
              <a:gd name="T34" fmla="*/ 374587 w 2550"/>
              <a:gd name="T35" fmla="*/ 47738 h 676"/>
              <a:gd name="T36" fmla="*/ 388980 w 2550"/>
              <a:gd name="T37" fmla="*/ 91497 h 676"/>
              <a:gd name="T38" fmla="*/ 399415 w 2550"/>
              <a:gd name="T39" fmla="*/ 144298 h 676"/>
              <a:gd name="T40" fmla="*/ 425683 w 2550"/>
              <a:gd name="T41" fmla="*/ 176123 h 676"/>
              <a:gd name="T42" fmla="*/ 455549 w 2550"/>
              <a:gd name="T43" fmla="*/ 166720 h 676"/>
              <a:gd name="T44" fmla="*/ 484336 w 2550"/>
              <a:gd name="T45" fmla="*/ 121514 h 676"/>
              <a:gd name="T46" fmla="*/ 509524 w 2550"/>
              <a:gd name="T47" fmla="*/ 46291 h 676"/>
              <a:gd name="T48" fmla="*/ 514562 w 2550"/>
              <a:gd name="T49" fmla="*/ 0 h 676"/>
              <a:gd name="T50" fmla="*/ 571415 w 2550"/>
              <a:gd name="T51" fmla="*/ 164912 h 676"/>
              <a:gd name="T52" fmla="*/ 577533 w 2550"/>
              <a:gd name="T53" fmla="*/ 100900 h 676"/>
              <a:gd name="T54" fmla="*/ 580411 w 2550"/>
              <a:gd name="T55" fmla="*/ 31825 h 676"/>
              <a:gd name="T56" fmla="*/ 586528 w 2550"/>
              <a:gd name="T57" fmla="*/ 7233 h 676"/>
              <a:gd name="T58" fmla="*/ 622512 w 2550"/>
              <a:gd name="T59" fmla="*/ 22422 h 676"/>
              <a:gd name="T60" fmla="*/ 660294 w 2550"/>
              <a:gd name="T61" fmla="*/ 65459 h 676"/>
              <a:gd name="T62" fmla="*/ 681165 w 2550"/>
              <a:gd name="T63" fmla="*/ 128024 h 676"/>
              <a:gd name="T64" fmla="*/ 678646 w 2550"/>
              <a:gd name="T65" fmla="*/ 167805 h 676"/>
              <a:gd name="T66" fmla="*/ 577533 w 2550"/>
              <a:gd name="T67" fmla="*/ 88966 h 676"/>
              <a:gd name="T68" fmla="*/ 622872 w 2550"/>
              <a:gd name="T69" fmla="*/ 64374 h 676"/>
              <a:gd name="T70" fmla="*/ 663173 w 2550"/>
              <a:gd name="T71" fmla="*/ 56417 h 676"/>
              <a:gd name="T72" fmla="*/ 700236 w 2550"/>
              <a:gd name="T73" fmla="*/ 54247 h 676"/>
              <a:gd name="T74" fmla="*/ 735499 w 2550"/>
              <a:gd name="T75" fmla="*/ 48823 h 676"/>
              <a:gd name="T76" fmla="*/ 749893 w 2550"/>
              <a:gd name="T77" fmla="*/ 61480 h 676"/>
              <a:gd name="T78" fmla="*/ 737299 w 2550"/>
              <a:gd name="T79" fmla="*/ 95114 h 676"/>
              <a:gd name="T80" fmla="*/ 733700 w 2550"/>
              <a:gd name="T81" fmla="*/ 120791 h 676"/>
              <a:gd name="T82" fmla="*/ 758889 w 2550"/>
              <a:gd name="T83" fmla="*/ 139597 h 676"/>
              <a:gd name="T84" fmla="*/ 792713 w 2550"/>
              <a:gd name="T85" fmla="*/ 149000 h 676"/>
              <a:gd name="T86" fmla="*/ 830495 w 2550"/>
              <a:gd name="T87" fmla="*/ 156233 h 676"/>
              <a:gd name="T88" fmla="*/ 875834 w 2550"/>
              <a:gd name="T89" fmla="*/ 155148 h 676"/>
              <a:gd name="T90" fmla="*/ 915416 w 2550"/>
              <a:gd name="T91" fmla="*/ 156233 h 676"/>
              <a:gd name="T92" fmla="*/ 917215 w 2550"/>
              <a:gd name="T93" fmla="*/ 164189 h 67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550"/>
              <a:gd name="T142" fmla="*/ 0 h 676"/>
              <a:gd name="T143" fmla="*/ 2550 w 2550"/>
              <a:gd name="T144" fmla="*/ 676 h 67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550" h="676" extrusionOk="0">
                <a:moveTo>
                  <a:pt x="3" y="136"/>
                </a:moveTo>
                <a:cubicBezTo>
                  <a:pt x="3" y="169"/>
                  <a:pt x="14" y="201"/>
                  <a:pt x="23" y="235"/>
                </a:cubicBezTo>
                <a:cubicBezTo>
                  <a:pt x="40" y="300"/>
                  <a:pt x="62" y="364"/>
                  <a:pt x="83" y="427"/>
                </a:cubicBezTo>
                <a:cubicBezTo>
                  <a:pt x="110" y="507"/>
                  <a:pt x="141" y="588"/>
                  <a:pt x="207" y="645"/>
                </a:cubicBezTo>
                <a:cubicBezTo>
                  <a:pt x="244" y="677"/>
                  <a:pt x="296" y="683"/>
                  <a:pt x="340" y="663"/>
                </a:cubicBezTo>
                <a:cubicBezTo>
                  <a:pt x="401" y="635"/>
                  <a:pt x="431" y="576"/>
                  <a:pt x="457" y="519"/>
                </a:cubicBezTo>
                <a:cubicBezTo>
                  <a:pt x="492" y="441"/>
                  <a:pt x="506" y="361"/>
                  <a:pt x="507" y="276"/>
                </a:cubicBezTo>
                <a:cubicBezTo>
                  <a:pt x="508" y="216"/>
                  <a:pt x="502" y="149"/>
                  <a:pt x="482" y="92"/>
                </a:cubicBezTo>
                <a:cubicBezTo>
                  <a:pt x="476" y="74"/>
                  <a:pt x="462" y="29"/>
                  <a:pt x="458" y="65"/>
                </a:cubicBezTo>
              </a:path>
              <a:path w="2550" h="676" extrusionOk="0">
                <a:moveTo>
                  <a:pt x="817" y="40"/>
                </a:moveTo>
                <a:cubicBezTo>
                  <a:pt x="779" y="39"/>
                  <a:pt x="775" y="58"/>
                  <a:pt x="753" y="92"/>
                </a:cubicBezTo>
                <a:cubicBezTo>
                  <a:pt x="740" y="113"/>
                  <a:pt x="725" y="142"/>
                  <a:pt x="747" y="163"/>
                </a:cubicBezTo>
                <a:cubicBezTo>
                  <a:pt x="763" y="178"/>
                  <a:pt x="820" y="178"/>
                  <a:pt x="840" y="183"/>
                </a:cubicBezTo>
                <a:cubicBezTo>
                  <a:pt x="880" y="193"/>
                  <a:pt x="921" y="209"/>
                  <a:pt x="947" y="243"/>
                </a:cubicBezTo>
                <a:cubicBezTo>
                  <a:pt x="985" y="293"/>
                  <a:pt x="985" y="380"/>
                  <a:pt x="952" y="432"/>
                </a:cubicBezTo>
                <a:cubicBezTo>
                  <a:pt x="928" y="471"/>
                  <a:pt x="900" y="504"/>
                  <a:pt x="858" y="525"/>
                </a:cubicBezTo>
                <a:cubicBezTo>
                  <a:pt x="833" y="534"/>
                  <a:pt x="826" y="537"/>
                  <a:pt x="808" y="532"/>
                </a:cubicBezTo>
              </a:path>
              <a:path w="2550" h="676" extrusionOk="0">
                <a:moveTo>
                  <a:pt x="1041" y="132"/>
                </a:moveTo>
                <a:cubicBezTo>
                  <a:pt x="1067" y="170"/>
                  <a:pt x="1076" y="206"/>
                  <a:pt x="1081" y="253"/>
                </a:cubicBezTo>
                <a:cubicBezTo>
                  <a:pt x="1086" y="304"/>
                  <a:pt x="1093" y="350"/>
                  <a:pt x="1110" y="399"/>
                </a:cubicBezTo>
                <a:cubicBezTo>
                  <a:pt x="1123" y="437"/>
                  <a:pt x="1144" y="473"/>
                  <a:pt x="1183" y="487"/>
                </a:cubicBezTo>
                <a:cubicBezTo>
                  <a:pt x="1214" y="498"/>
                  <a:pt x="1243" y="481"/>
                  <a:pt x="1266" y="461"/>
                </a:cubicBezTo>
                <a:cubicBezTo>
                  <a:pt x="1305" y="428"/>
                  <a:pt x="1324" y="381"/>
                  <a:pt x="1346" y="336"/>
                </a:cubicBezTo>
                <a:cubicBezTo>
                  <a:pt x="1380" y="268"/>
                  <a:pt x="1395" y="200"/>
                  <a:pt x="1416" y="128"/>
                </a:cubicBezTo>
                <a:cubicBezTo>
                  <a:pt x="1429" y="83"/>
                  <a:pt x="1434" y="46"/>
                  <a:pt x="1430" y="0"/>
                </a:cubicBezTo>
              </a:path>
              <a:path w="2550" h="676" extrusionOk="0">
                <a:moveTo>
                  <a:pt x="1588" y="456"/>
                </a:moveTo>
                <a:cubicBezTo>
                  <a:pt x="1593" y="397"/>
                  <a:pt x="1602" y="338"/>
                  <a:pt x="1605" y="279"/>
                </a:cubicBezTo>
                <a:cubicBezTo>
                  <a:pt x="1608" y="215"/>
                  <a:pt x="1609" y="152"/>
                  <a:pt x="1613" y="88"/>
                </a:cubicBezTo>
                <a:cubicBezTo>
                  <a:pt x="1615" y="59"/>
                  <a:pt x="1618" y="46"/>
                  <a:pt x="1630" y="20"/>
                </a:cubicBezTo>
                <a:cubicBezTo>
                  <a:pt x="1667" y="28"/>
                  <a:pt x="1699" y="39"/>
                  <a:pt x="1730" y="62"/>
                </a:cubicBezTo>
                <a:cubicBezTo>
                  <a:pt x="1772" y="93"/>
                  <a:pt x="1808" y="137"/>
                  <a:pt x="1835" y="181"/>
                </a:cubicBezTo>
                <a:cubicBezTo>
                  <a:pt x="1867" y="234"/>
                  <a:pt x="1884" y="293"/>
                  <a:pt x="1893" y="354"/>
                </a:cubicBezTo>
                <a:cubicBezTo>
                  <a:pt x="1899" y="395"/>
                  <a:pt x="1900" y="425"/>
                  <a:pt x="1886" y="464"/>
                </a:cubicBezTo>
              </a:path>
              <a:path w="2550" h="676" extrusionOk="0">
                <a:moveTo>
                  <a:pt x="1605" y="246"/>
                </a:moveTo>
                <a:cubicBezTo>
                  <a:pt x="1648" y="217"/>
                  <a:pt x="1684" y="196"/>
                  <a:pt x="1731" y="178"/>
                </a:cubicBezTo>
                <a:cubicBezTo>
                  <a:pt x="1769" y="163"/>
                  <a:pt x="1802" y="157"/>
                  <a:pt x="1843" y="156"/>
                </a:cubicBezTo>
                <a:cubicBezTo>
                  <a:pt x="1878" y="155"/>
                  <a:pt x="1911" y="154"/>
                  <a:pt x="1946" y="150"/>
                </a:cubicBezTo>
                <a:cubicBezTo>
                  <a:pt x="1980" y="146"/>
                  <a:pt x="2011" y="141"/>
                  <a:pt x="2044" y="135"/>
                </a:cubicBezTo>
                <a:cubicBezTo>
                  <a:pt x="2081" y="129"/>
                  <a:pt x="2090" y="131"/>
                  <a:pt x="2084" y="170"/>
                </a:cubicBezTo>
                <a:cubicBezTo>
                  <a:pt x="2079" y="201"/>
                  <a:pt x="2058" y="232"/>
                  <a:pt x="2049" y="263"/>
                </a:cubicBezTo>
                <a:cubicBezTo>
                  <a:pt x="2043" y="285"/>
                  <a:pt x="2034" y="311"/>
                  <a:pt x="2039" y="334"/>
                </a:cubicBezTo>
                <a:cubicBezTo>
                  <a:pt x="2046" y="363"/>
                  <a:pt x="2083" y="378"/>
                  <a:pt x="2109" y="386"/>
                </a:cubicBezTo>
                <a:cubicBezTo>
                  <a:pt x="2138" y="395"/>
                  <a:pt x="2172" y="406"/>
                  <a:pt x="2203" y="412"/>
                </a:cubicBezTo>
                <a:cubicBezTo>
                  <a:pt x="2237" y="419"/>
                  <a:pt x="2273" y="430"/>
                  <a:pt x="2308" y="432"/>
                </a:cubicBezTo>
                <a:cubicBezTo>
                  <a:pt x="2350" y="434"/>
                  <a:pt x="2392" y="429"/>
                  <a:pt x="2434" y="429"/>
                </a:cubicBezTo>
                <a:cubicBezTo>
                  <a:pt x="2455" y="429"/>
                  <a:pt x="2527" y="416"/>
                  <a:pt x="2544" y="432"/>
                </a:cubicBezTo>
                <a:cubicBezTo>
                  <a:pt x="2546" y="439"/>
                  <a:pt x="2547" y="447"/>
                  <a:pt x="2549" y="454"/>
                </a:cubicBezTo>
              </a:path>
            </a:pathLst>
          </a:custGeom>
          <a:noFill/>
          <a:ln w="19050" cap="rnd">
            <a:solidFill>
              <a:schemeClr val="tx1"/>
            </a:solidFill>
            <a:round/>
            <a:headEnd/>
            <a:tailEnd/>
          </a:ln>
        </p:spPr>
        <p:txBody>
          <a:bodyPr>
            <a:prstTxWarp prst="textNoShape">
              <a:avLst/>
            </a:prstTxWarp>
          </a:bodyPr>
          <a:lstStyle/>
          <a:p>
            <a:endParaRPr lang="en-US"/>
          </a:p>
        </p:txBody>
      </p:sp>
      <p:sp>
        <p:nvSpPr>
          <p:cNvPr id="38925" name="Rectangle 11"/>
          <p:cNvSpPr>
            <a:spLocks noChangeArrowheads="1"/>
          </p:cNvSpPr>
          <p:nvPr/>
        </p:nvSpPr>
        <p:spPr bwMode="auto">
          <a:xfrm>
            <a:off x="144463" y="382588"/>
            <a:ext cx="8618537" cy="615950"/>
          </a:xfrm>
          <a:prstGeom prst="rect">
            <a:avLst/>
          </a:prstGeom>
          <a:noFill/>
          <a:ln w="9525">
            <a:noFill/>
            <a:miter lim="800000"/>
            <a:headEnd/>
            <a:tailEnd/>
          </a:ln>
        </p:spPr>
        <p:txBody>
          <a:bodyPr lIns="0" tIns="0" rIns="0" bIns="0">
            <a:prstTxWarp prst="textNoShape">
              <a:avLst/>
            </a:prstTxWarp>
            <a:spAutoFit/>
          </a:bodyPr>
          <a:lstStyle/>
          <a:p>
            <a:pPr defTabSz="895350"/>
            <a:r>
              <a:rPr lang="en-US" sz="4000">
                <a:solidFill>
                  <a:srgbClr val="FF0000"/>
                </a:solidFill>
                <a:latin typeface="Helvetica" pitchFamily="-123" charset="0"/>
                <a:ea typeface="Helvetica" pitchFamily="-123" charset="0"/>
                <a:cs typeface="Helvetica" pitchFamily="-123" charset="0"/>
              </a:rPr>
              <a:t>idea </a:t>
            </a:r>
            <a:r>
              <a:rPr lang="en-US" sz="4000" b="1">
                <a:solidFill>
                  <a:srgbClr val="FF0000"/>
                </a:solidFill>
                <a:latin typeface="Helvetica" pitchFamily="-123" charset="0"/>
                <a:ea typeface="Helvetica" pitchFamily="-123" charset="0"/>
                <a:cs typeface="Helvetica" pitchFamily="-123" charset="0"/>
              </a:rPr>
              <a:t>SELECTION </a:t>
            </a:r>
            <a:r>
              <a:rPr lang="en-US" sz="4000">
                <a:solidFill>
                  <a:srgbClr val="FF0000"/>
                </a:solidFill>
                <a:latin typeface="Helvetica" pitchFamily="-123" charset="0"/>
                <a:ea typeface="Helvetica" pitchFamily="-123" charset="0"/>
                <a:cs typeface="Helvetica" pitchFamily="-123" charset="0"/>
              </a:rPr>
              <a:t>is a critical step</a:t>
            </a:r>
            <a:endParaRPr lang="en-US" sz="4000" b="1">
              <a:solidFill>
                <a:srgbClr val="FF0000"/>
              </a:solidFill>
              <a:latin typeface="Helvetica" pitchFamily="-123" charset="0"/>
              <a:ea typeface="Helvetica" pitchFamily="-123" charset="0"/>
              <a:cs typeface="Helvetica" pitchFamily="-123"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0961" name="Text Box 9"/>
          <p:cNvSpPr txBox="1">
            <a:spLocks noChangeArrowheads="1"/>
          </p:cNvSpPr>
          <p:nvPr>
            <p:custDataLst>
              <p:tags r:id="rId1"/>
            </p:custDataLst>
          </p:nvPr>
        </p:nvSpPr>
        <p:spPr bwMode="auto">
          <a:xfrm>
            <a:off x="1446213" y="4467225"/>
            <a:ext cx="1863725" cy="954088"/>
          </a:xfrm>
          <a:prstGeom prst="rect">
            <a:avLst/>
          </a:prstGeom>
          <a:noFill/>
          <a:ln w="9525">
            <a:noFill/>
            <a:miter lim="800000"/>
            <a:headEnd/>
            <a:tailEnd/>
          </a:ln>
        </p:spPr>
        <p:txBody>
          <a:bodyPr>
            <a:prstTxWarp prst="textNoShape">
              <a:avLst/>
            </a:prstTxWarp>
            <a:spAutoFit/>
          </a:bodyPr>
          <a:lstStyle/>
          <a:p>
            <a:pPr algn="ctr"/>
            <a:r>
              <a:rPr lang="en-US" sz="1400">
                <a:latin typeface="Helvetica" pitchFamily="-123" charset="0"/>
                <a:ea typeface="Helvetica" pitchFamily="-123" charset="0"/>
                <a:cs typeface="Helvetica" pitchFamily="-123" charset="0"/>
              </a:rPr>
              <a:t>All the creative, wild, bad, OK, and undeveloped ideas from your brainstorm</a:t>
            </a:r>
          </a:p>
        </p:txBody>
      </p:sp>
      <p:sp>
        <p:nvSpPr>
          <p:cNvPr id="40962" name="Text Box 10"/>
          <p:cNvSpPr txBox="1">
            <a:spLocks noChangeArrowheads="1"/>
          </p:cNvSpPr>
          <p:nvPr>
            <p:custDataLst>
              <p:tags r:id="rId2"/>
            </p:custDataLst>
          </p:nvPr>
        </p:nvSpPr>
        <p:spPr bwMode="auto">
          <a:xfrm>
            <a:off x="5756275" y="4467225"/>
            <a:ext cx="1863725" cy="523875"/>
          </a:xfrm>
          <a:prstGeom prst="rect">
            <a:avLst/>
          </a:prstGeom>
          <a:noFill/>
          <a:ln w="9525">
            <a:noFill/>
            <a:miter lim="800000"/>
            <a:headEnd/>
            <a:tailEnd/>
          </a:ln>
        </p:spPr>
        <p:txBody>
          <a:bodyPr>
            <a:prstTxWarp prst="textNoShape">
              <a:avLst/>
            </a:prstTxWarp>
            <a:spAutoFit/>
          </a:bodyPr>
          <a:lstStyle/>
          <a:p>
            <a:pPr algn="ctr"/>
            <a:r>
              <a:rPr lang="en-US" sz="1400">
                <a:latin typeface="Helvetica" pitchFamily="-123" charset="0"/>
                <a:ea typeface="Helvetica" pitchFamily="-123" charset="0"/>
                <a:cs typeface="Helvetica" pitchFamily="-123" charset="0"/>
              </a:rPr>
              <a:t>Can be developed for feasibility</a:t>
            </a:r>
          </a:p>
        </p:txBody>
      </p:sp>
      <p:sp>
        <p:nvSpPr>
          <p:cNvPr id="40963" name="Text Box 11"/>
          <p:cNvSpPr txBox="1">
            <a:spLocks noChangeArrowheads="1"/>
          </p:cNvSpPr>
          <p:nvPr>
            <p:custDataLst>
              <p:tags r:id="rId3"/>
            </p:custDataLst>
          </p:nvPr>
        </p:nvSpPr>
        <p:spPr bwMode="auto">
          <a:xfrm>
            <a:off x="3600450" y="4467225"/>
            <a:ext cx="1863725" cy="304800"/>
          </a:xfrm>
          <a:prstGeom prst="rect">
            <a:avLst/>
          </a:prstGeom>
          <a:noFill/>
          <a:ln w="9525">
            <a:noFill/>
            <a:miter lim="800000"/>
            <a:headEnd/>
            <a:tailEnd/>
          </a:ln>
        </p:spPr>
        <p:txBody>
          <a:bodyPr>
            <a:prstTxWarp prst="textNoShape">
              <a:avLst/>
            </a:prstTxWarp>
            <a:spAutoFit/>
          </a:bodyPr>
          <a:lstStyle/>
          <a:p>
            <a:pPr algn="ctr"/>
            <a:r>
              <a:rPr lang="en-US" sz="1400">
                <a:latin typeface="Helvetica" pitchFamily="-123" charset="0"/>
                <a:ea typeface="Helvetica" pitchFamily="-123" charset="0"/>
                <a:cs typeface="Helvetica" pitchFamily="-123" charset="0"/>
              </a:rPr>
              <a:t>Selected for potential </a:t>
            </a:r>
          </a:p>
        </p:txBody>
      </p:sp>
      <p:grpSp>
        <p:nvGrpSpPr>
          <p:cNvPr id="40964" name="Group 17"/>
          <p:cNvGrpSpPr>
            <a:grpSpLocks/>
          </p:cNvGrpSpPr>
          <p:nvPr/>
        </p:nvGrpSpPr>
        <p:grpSpPr bwMode="auto">
          <a:xfrm>
            <a:off x="1414463" y="1443038"/>
            <a:ext cx="6315075" cy="2824162"/>
            <a:chOff x="1812925" y="1120775"/>
            <a:chExt cx="6315075" cy="2824163"/>
          </a:xfrm>
        </p:grpSpPr>
        <p:sp>
          <p:nvSpPr>
            <p:cNvPr id="40966" name="AutoShape 3"/>
            <p:cNvSpPr>
              <a:spLocks noChangeArrowheads="1"/>
            </p:cNvSpPr>
            <p:nvPr>
              <p:custDataLst>
                <p:tags r:id="rId4"/>
              </p:custDataLst>
            </p:nvPr>
          </p:nvSpPr>
          <p:spPr bwMode="auto">
            <a:xfrm rot="-5400000">
              <a:off x="4852988" y="1765300"/>
              <a:ext cx="1117600" cy="1784350"/>
            </a:xfrm>
            <a:custGeom>
              <a:avLst/>
              <a:gdLst>
                <a:gd name="T0" fmla="*/ 49119503 w 21600"/>
                <a:gd name="T1" fmla="*/ 73701503 h 21600"/>
                <a:gd name="T2" fmla="*/ 28912726 w 21600"/>
                <a:gd name="T3" fmla="*/ 147403006 h 21600"/>
                <a:gd name="T4" fmla="*/ 8705949 w 21600"/>
                <a:gd name="T5" fmla="*/ 73701503 h 21600"/>
                <a:gd name="T6" fmla="*/ 28912726 w 21600"/>
                <a:gd name="T7" fmla="*/ 0 h 21600"/>
                <a:gd name="T8" fmla="*/ 0 60000 65536"/>
                <a:gd name="T9" fmla="*/ 0 60000 65536"/>
                <a:gd name="T10" fmla="*/ 0 60000 65536"/>
                <a:gd name="T11" fmla="*/ 0 60000 65536"/>
                <a:gd name="T12" fmla="*/ 5052 w 21600"/>
                <a:gd name="T13" fmla="*/ 5052 h 21600"/>
                <a:gd name="T14" fmla="*/ 16548 w 21600"/>
                <a:gd name="T15" fmla="*/ 16548 h 21600"/>
              </a:gdLst>
              <a:ahLst/>
              <a:cxnLst>
                <a:cxn ang="T8">
                  <a:pos x="T0" y="T1"/>
                </a:cxn>
                <a:cxn ang="T9">
                  <a:pos x="T2" y="T3"/>
                </a:cxn>
                <a:cxn ang="T10">
                  <a:pos x="T4" y="T5"/>
                </a:cxn>
                <a:cxn ang="T11">
                  <a:pos x="T6" y="T7"/>
                </a:cxn>
              </a:cxnLst>
              <a:rect l="T12" t="T13" r="T14" b="T15"/>
              <a:pathLst>
                <a:path w="21600" h="21600">
                  <a:moveTo>
                    <a:pt x="0" y="0"/>
                  </a:moveTo>
                  <a:lnTo>
                    <a:pt x="6504" y="21600"/>
                  </a:lnTo>
                  <a:lnTo>
                    <a:pt x="15096" y="21600"/>
                  </a:lnTo>
                  <a:lnTo>
                    <a:pt x="21600" y="0"/>
                  </a:lnTo>
                  <a:close/>
                </a:path>
              </a:pathLst>
            </a:custGeom>
            <a:solidFill>
              <a:schemeClr val="bg1"/>
            </a:solidFill>
            <a:ln w="9525">
              <a:solidFill>
                <a:schemeClr val="tx1"/>
              </a:solidFill>
              <a:miter lim="800000"/>
              <a:headEnd/>
              <a:tailEnd/>
            </a:ln>
          </p:spPr>
          <p:txBody>
            <a:bodyPr vert="eaVert" wrap="none" anchor="ctr">
              <a:prstTxWarp prst="textNoShape">
                <a:avLst/>
              </a:prstTxWarp>
            </a:bodyPr>
            <a:lstStyle/>
            <a:p>
              <a:pPr algn="ctr"/>
              <a:endParaRPr lang="en-US"/>
            </a:p>
          </p:txBody>
        </p:sp>
        <p:sp>
          <p:nvSpPr>
            <p:cNvPr id="40967" name="AutoShape 7"/>
            <p:cNvSpPr>
              <a:spLocks noChangeArrowheads="1"/>
            </p:cNvSpPr>
            <p:nvPr>
              <p:custDataLst>
                <p:tags r:id="rId5"/>
              </p:custDataLst>
            </p:nvPr>
          </p:nvSpPr>
          <p:spPr bwMode="auto">
            <a:xfrm rot="-5400000">
              <a:off x="3373438" y="1914525"/>
              <a:ext cx="2478088" cy="1582737"/>
            </a:xfrm>
            <a:prstGeom prst="parallelogram">
              <a:avLst>
                <a:gd name="adj" fmla="val 39142"/>
              </a:avLst>
            </a:prstGeom>
            <a:solidFill>
              <a:srgbClr val="FF0000"/>
            </a:solidFill>
            <a:ln w="9525">
              <a:solidFill>
                <a:schemeClr val="tx1"/>
              </a:solidFill>
              <a:miter lim="800000"/>
              <a:headEnd/>
              <a:tailEnd/>
            </a:ln>
          </p:spPr>
          <p:txBody>
            <a:bodyPr wrap="none" anchor="ctr">
              <a:prstTxWarp prst="textNoShape">
                <a:avLst/>
              </a:prstTxWarp>
            </a:bodyPr>
            <a:lstStyle/>
            <a:p>
              <a:endParaRPr lang="en-US"/>
            </a:p>
          </p:txBody>
        </p:sp>
        <p:sp>
          <p:nvSpPr>
            <p:cNvPr id="40968" name="AutoShape 8"/>
            <p:cNvSpPr>
              <a:spLocks noChangeArrowheads="1"/>
            </p:cNvSpPr>
            <p:nvPr>
              <p:custDataLst>
                <p:tags r:id="rId6"/>
              </p:custDataLst>
            </p:nvPr>
          </p:nvSpPr>
          <p:spPr bwMode="auto">
            <a:xfrm rot="-5400000">
              <a:off x="2081213" y="1314450"/>
              <a:ext cx="2176462" cy="2713038"/>
            </a:xfrm>
            <a:custGeom>
              <a:avLst/>
              <a:gdLst>
                <a:gd name="T0" fmla="*/ 191891803 w 21600"/>
                <a:gd name="T1" fmla="*/ 170383685 h 21600"/>
                <a:gd name="T2" fmla="*/ 109652473 w 21600"/>
                <a:gd name="T3" fmla="*/ 340767370 h 21600"/>
                <a:gd name="T4" fmla="*/ 27413143 w 21600"/>
                <a:gd name="T5" fmla="*/ 170383685 h 21600"/>
                <a:gd name="T6" fmla="*/ 109652473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chemeClr val="bg1"/>
            </a:solidFill>
            <a:ln w="9525">
              <a:solidFill>
                <a:schemeClr val="tx1"/>
              </a:solidFill>
              <a:miter lim="800000"/>
              <a:headEnd/>
              <a:tailEnd/>
            </a:ln>
          </p:spPr>
          <p:txBody>
            <a:bodyPr vert="eaVert" wrap="none" anchor="ctr">
              <a:prstTxWarp prst="textNoShape">
                <a:avLst/>
              </a:prstTxWarp>
            </a:bodyPr>
            <a:lstStyle/>
            <a:p>
              <a:pPr algn="ctr"/>
              <a:endParaRPr lang="en-US"/>
            </a:p>
          </p:txBody>
        </p:sp>
        <p:sp>
          <p:nvSpPr>
            <p:cNvPr id="40969" name="Freeform 12"/>
            <p:cNvSpPr>
              <a:spLocks noRot="1" noChangeAspect="1" noEditPoints="1" noChangeArrowheads="1" noChangeShapeType="1" noTextEdit="1"/>
            </p:cNvSpPr>
            <p:nvPr>
              <p:custDataLst>
                <p:tags r:id="rId7"/>
              </p:custDataLst>
            </p:nvPr>
          </p:nvSpPr>
          <p:spPr bwMode="auto">
            <a:xfrm>
              <a:off x="1863725" y="1693863"/>
              <a:ext cx="2620963" cy="1687512"/>
            </a:xfrm>
            <a:custGeom>
              <a:avLst/>
              <a:gdLst>
                <a:gd name="T0" fmla="*/ 658660 w 7282"/>
                <a:gd name="T1" fmla="*/ 638489 h 4686"/>
                <a:gd name="T2" fmla="*/ 235750 w 7282"/>
                <a:gd name="T3" fmla="*/ 1162100 h 4686"/>
                <a:gd name="T4" fmla="*/ 129572 w 7282"/>
                <a:gd name="T5" fmla="*/ 709792 h 4686"/>
                <a:gd name="T6" fmla="*/ 1083010 w 7282"/>
                <a:gd name="T7" fmla="*/ 566105 h 4686"/>
                <a:gd name="T8" fmla="*/ 1123321 w 7282"/>
                <a:gd name="T9" fmla="*/ 520010 h 4686"/>
                <a:gd name="T10" fmla="*/ 1145637 w 7282"/>
                <a:gd name="T11" fmla="*/ 747965 h 4686"/>
                <a:gd name="T12" fmla="*/ 473299 w 7282"/>
                <a:gd name="T13" fmla="*/ 796581 h 4686"/>
                <a:gd name="T14" fmla="*/ 2117070 w 7282"/>
                <a:gd name="T15" fmla="*/ 1128249 h 4686"/>
                <a:gd name="T16" fmla="*/ 2115990 w 7282"/>
                <a:gd name="T17" fmla="*/ 1372409 h 4686"/>
                <a:gd name="T18" fmla="*/ 2233325 w 7282"/>
                <a:gd name="T19" fmla="*/ 1391495 h 4686"/>
                <a:gd name="T20" fmla="*/ 1585103 w 7282"/>
                <a:gd name="T21" fmla="*/ 565025 h 4686"/>
                <a:gd name="T22" fmla="*/ 1757866 w 7282"/>
                <a:gd name="T23" fmla="*/ 687105 h 4686"/>
                <a:gd name="T24" fmla="*/ 2266798 w 7282"/>
                <a:gd name="T25" fmla="*/ 541617 h 4686"/>
                <a:gd name="T26" fmla="*/ 2185815 w 7282"/>
                <a:gd name="T27" fmla="*/ 713753 h 4686"/>
                <a:gd name="T28" fmla="*/ 1041979 w 7282"/>
                <a:gd name="T29" fmla="*/ 1369888 h 4686"/>
                <a:gd name="T30" fmla="*/ 1191707 w 7282"/>
                <a:gd name="T31" fmla="*/ 1460998 h 4686"/>
                <a:gd name="T32" fmla="*/ 1079051 w 7282"/>
                <a:gd name="T33" fmla="*/ 1668426 h 4686"/>
                <a:gd name="T34" fmla="*/ 477978 w 7282"/>
                <a:gd name="T35" fmla="*/ 111276 h 4686"/>
                <a:gd name="T36" fmla="*/ 1457330 w 7282"/>
                <a:gd name="T37" fmla="*/ 1272296 h 4686"/>
                <a:gd name="T38" fmla="*/ 960276 w 7282"/>
                <a:gd name="T39" fmla="*/ 1064148 h 4686"/>
                <a:gd name="T40" fmla="*/ 928603 w 7282"/>
                <a:gd name="T41" fmla="*/ 834033 h 4686"/>
                <a:gd name="T42" fmla="*/ 1112524 w 7282"/>
                <a:gd name="T43" fmla="*/ 1130050 h 4686"/>
                <a:gd name="T44" fmla="*/ 991949 w 7282"/>
                <a:gd name="T45" fmla="*/ 1168942 h 4686"/>
                <a:gd name="T46" fmla="*/ 1079051 w 7282"/>
                <a:gd name="T47" fmla="*/ 1204234 h 4686"/>
                <a:gd name="T48" fmla="*/ 1023982 w 7282"/>
                <a:gd name="T49" fmla="*/ 955032 h 4686"/>
                <a:gd name="T50" fmla="*/ 2261399 w 7282"/>
                <a:gd name="T51" fmla="*/ 1209996 h 4686"/>
                <a:gd name="T52" fmla="*/ 2408968 w 7282"/>
                <a:gd name="T53" fmla="*/ 1235204 h 4686"/>
                <a:gd name="T54" fmla="*/ 2416167 w 7282"/>
                <a:gd name="T55" fmla="*/ 1445873 h 4686"/>
                <a:gd name="T56" fmla="*/ 2533142 w 7282"/>
                <a:gd name="T57" fmla="*/ 1208195 h 4686"/>
                <a:gd name="T58" fmla="*/ 2523424 w 7282"/>
                <a:gd name="T59" fmla="*/ 518930 h 4686"/>
                <a:gd name="T60" fmla="*/ 2475554 w 7282"/>
                <a:gd name="T61" fmla="*/ 640289 h 4686"/>
                <a:gd name="T62" fmla="*/ 2537461 w 7282"/>
                <a:gd name="T63" fmla="*/ 627685 h 4686"/>
                <a:gd name="T64" fmla="*/ 2569134 w 7282"/>
                <a:gd name="T65" fmla="*/ 738602 h 4686"/>
                <a:gd name="T66" fmla="*/ 2003694 w 7282"/>
                <a:gd name="T67" fmla="*/ 628406 h 4686"/>
                <a:gd name="T68" fmla="*/ 1909394 w 7282"/>
                <a:gd name="T69" fmla="*/ 661176 h 4686"/>
                <a:gd name="T70" fmla="*/ 1951505 w 7282"/>
                <a:gd name="T71" fmla="*/ 803783 h 4686"/>
                <a:gd name="T72" fmla="*/ 1432855 w 7282"/>
                <a:gd name="T73" fmla="*/ 591674 h 4686"/>
                <a:gd name="T74" fmla="*/ 1481445 w 7282"/>
                <a:gd name="T75" fmla="*/ 673060 h 4686"/>
                <a:gd name="T76" fmla="*/ 1327758 w 7282"/>
                <a:gd name="T77" fmla="*/ 673060 h 4686"/>
                <a:gd name="T78" fmla="*/ 1931709 w 7282"/>
                <a:gd name="T79" fmla="*/ 937747 h 4686"/>
                <a:gd name="T80" fmla="*/ 1945027 w 7282"/>
                <a:gd name="T81" fmla="*/ 1193790 h 4686"/>
                <a:gd name="T82" fmla="*/ 1848207 w 7282"/>
                <a:gd name="T83" fmla="*/ 1175424 h 4686"/>
                <a:gd name="T84" fmla="*/ 696812 w 7282"/>
                <a:gd name="T85" fmla="*/ 1148416 h 4686"/>
                <a:gd name="T86" fmla="*/ 968194 w 7282"/>
                <a:gd name="T87" fmla="*/ 1060547 h 4686"/>
                <a:gd name="T88" fmla="*/ 313853 w 7282"/>
                <a:gd name="T89" fmla="*/ 1062348 h 4686"/>
                <a:gd name="T90" fmla="*/ 277141 w 7282"/>
                <a:gd name="T91" fmla="*/ 1127529 h 4686"/>
                <a:gd name="T92" fmla="*/ 669458 w 7282"/>
                <a:gd name="T93" fmla="*/ 1131130 h 4686"/>
                <a:gd name="T94" fmla="*/ 638144 w 7282"/>
                <a:gd name="T95" fmla="*/ 1156698 h 4686"/>
                <a:gd name="T96" fmla="*/ 862017 w 7282"/>
                <a:gd name="T97" fmla="*/ 998247 h 4686"/>
                <a:gd name="T98" fmla="*/ 806589 w 7282"/>
                <a:gd name="T99" fmla="*/ 1020934 h 4686"/>
                <a:gd name="T100" fmla="*/ 800830 w 7282"/>
                <a:gd name="T101" fmla="*/ 591313 h 4686"/>
                <a:gd name="T102" fmla="*/ 725606 w 7282"/>
                <a:gd name="T103" fmla="*/ 977360 h 4686"/>
                <a:gd name="T104" fmla="*/ 747921 w 7282"/>
                <a:gd name="T105" fmla="*/ 696108 h 4686"/>
                <a:gd name="T106" fmla="*/ 383319 w 7282"/>
                <a:gd name="T107" fmla="*/ 1000047 h 4686"/>
                <a:gd name="T108" fmla="*/ 795431 w 7282"/>
                <a:gd name="T109" fmla="*/ 158452 h 4686"/>
                <a:gd name="T110" fmla="*/ 808388 w 7282"/>
                <a:gd name="T111" fmla="*/ 283413 h 4686"/>
                <a:gd name="T112" fmla="*/ 1338556 w 7282"/>
                <a:gd name="T113" fmla="*/ 359037 h 4686"/>
                <a:gd name="T114" fmla="*/ 1398663 w 7282"/>
                <a:gd name="T115" fmla="*/ 437543 h 4686"/>
                <a:gd name="T116" fmla="*/ 1402982 w 7282"/>
                <a:gd name="T117" fmla="*/ 1491968 h 468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282"/>
                <a:gd name="T178" fmla="*/ 0 h 4686"/>
                <a:gd name="T179" fmla="*/ 7282 w 7282"/>
                <a:gd name="T180" fmla="*/ 4686 h 468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282" h="4686" extrusionOk="0">
                  <a:moveTo>
                    <a:pt x="862" y="1361"/>
                  </a:moveTo>
                  <a:cubicBezTo>
                    <a:pt x="855" y="1331"/>
                    <a:pt x="821" y="1335"/>
                    <a:pt x="825" y="1304"/>
                  </a:cubicBezTo>
                  <a:cubicBezTo>
                    <a:pt x="846" y="1148"/>
                    <a:pt x="980" y="933"/>
                    <a:pt x="1093" y="831"/>
                  </a:cubicBezTo>
                  <a:cubicBezTo>
                    <a:pt x="1173" y="759"/>
                    <a:pt x="1289" y="667"/>
                    <a:pt x="1375" y="786"/>
                  </a:cubicBezTo>
                  <a:cubicBezTo>
                    <a:pt x="1456" y="898"/>
                    <a:pt x="1450" y="1128"/>
                    <a:pt x="1408" y="1254"/>
                  </a:cubicBezTo>
                  <a:cubicBezTo>
                    <a:pt x="1399" y="1282"/>
                    <a:pt x="1387" y="1277"/>
                    <a:pt x="1375" y="1304"/>
                  </a:cubicBezTo>
                  <a:cubicBezTo>
                    <a:pt x="1411" y="1236"/>
                    <a:pt x="1385" y="1211"/>
                    <a:pt x="1477" y="1186"/>
                  </a:cubicBezTo>
                  <a:cubicBezTo>
                    <a:pt x="1607" y="1151"/>
                    <a:pt x="1836" y="1231"/>
                    <a:pt x="1911" y="1341"/>
                  </a:cubicBezTo>
                  <a:cubicBezTo>
                    <a:pt x="2016" y="1495"/>
                    <a:pt x="1930" y="1656"/>
                    <a:pt x="1830" y="1773"/>
                  </a:cubicBezTo>
                  <a:cubicBezTo>
                    <a:pt x="1886" y="1714"/>
                    <a:pt x="1915" y="1662"/>
                    <a:pt x="2000" y="1623"/>
                  </a:cubicBezTo>
                  <a:cubicBezTo>
                    <a:pt x="2139" y="1559"/>
                    <a:pt x="2316" y="1540"/>
                    <a:pt x="2403" y="1693"/>
                  </a:cubicBezTo>
                  <a:cubicBezTo>
                    <a:pt x="2563" y="1973"/>
                    <a:pt x="2342" y="2339"/>
                    <a:pt x="2145" y="2531"/>
                  </a:cubicBezTo>
                  <a:cubicBezTo>
                    <a:pt x="2055" y="2619"/>
                    <a:pt x="1958" y="2700"/>
                    <a:pt x="1863" y="2782"/>
                  </a:cubicBezTo>
                  <a:cubicBezTo>
                    <a:pt x="1903" y="2769"/>
                    <a:pt x="1957" y="2743"/>
                    <a:pt x="2001" y="2735"/>
                  </a:cubicBezTo>
                  <a:cubicBezTo>
                    <a:pt x="2056" y="2725"/>
                    <a:pt x="2127" y="2714"/>
                    <a:pt x="2171" y="2760"/>
                  </a:cubicBezTo>
                  <a:cubicBezTo>
                    <a:pt x="2265" y="2860"/>
                    <a:pt x="2138" y="3007"/>
                    <a:pt x="2066" y="3069"/>
                  </a:cubicBezTo>
                  <a:cubicBezTo>
                    <a:pt x="1858" y="3247"/>
                    <a:pt x="1450" y="3246"/>
                    <a:pt x="1197" y="3265"/>
                  </a:cubicBezTo>
                  <a:cubicBezTo>
                    <a:pt x="1050" y="3276"/>
                    <a:pt x="787" y="3322"/>
                    <a:pt x="655" y="3227"/>
                  </a:cubicBezTo>
                  <a:cubicBezTo>
                    <a:pt x="572" y="3167"/>
                    <a:pt x="640" y="3089"/>
                    <a:pt x="677" y="3028"/>
                  </a:cubicBezTo>
                  <a:cubicBezTo>
                    <a:pt x="736" y="2931"/>
                    <a:pt x="877" y="2850"/>
                    <a:pt x="987" y="2852"/>
                  </a:cubicBezTo>
                  <a:cubicBezTo>
                    <a:pt x="992" y="2858"/>
                    <a:pt x="998" y="2864"/>
                    <a:pt x="1003" y="2870"/>
                  </a:cubicBezTo>
                  <a:cubicBezTo>
                    <a:pt x="954" y="2955"/>
                    <a:pt x="943" y="3034"/>
                    <a:pt x="815" y="3051"/>
                  </a:cubicBezTo>
                  <a:cubicBezTo>
                    <a:pt x="606" y="3079"/>
                    <a:pt x="447" y="2895"/>
                    <a:pt x="335" y="2745"/>
                  </a:cubicBezTo>
                  <a:cubicBezTo>
                    <a:pt x="163" y="2514"/>
                    <a:pt x="24" y="2191"/>
                    <a:pt x="164" y="1913"/>
                  </a:cubicBezTo>
                  <a:cubicBezTo>
                    <a:pt x="226" y="1790"/>
                    <a:pt x="311" y="1708"/>
                    <a:pt x="414" y="1628"/>
                  </a:cubicBezTo>
                  <a:cubicBezTo>
                    <a:pt x="420" y="1674"/>
                    <a:pt x="437" y="1698"/>
                    <a:pt x="425" y="1763"/>
                  </a:cubicBezTo>
                  <a:cubicBezTo>
                    <a:pt x="412" y="1836"/>
                    <a:pt x="384" y="1902"/>
                    <a:pt x="360" y="1971"/>
                  </a:cubicBezTo>
                  <a:cubicBezTo>
                    <a:pt x="371" y="1863"/>
                    <a:pt x="385" y="1755"/>
                    <a:pt x="400" y="1647"/>
                  </a:cubicBezTo>
                  <a:cubicBezTo>
                    <a:pt x="418" y="1523"/>
                    <a:pt x="438" y="1401"/>
                    <a:pt x="469" y="1283"/>
                  </a:cubicBezTo>
                  <a:cubicBezTo>
                    <a:pt x="513" y="1294"/>
                    <a:pt x="562" y="1303"/>
                    <a:pt x="609" y="1319"/>
                  </a:cubicBezTo>
                  <a:cubicBezTo>
                    <a:pt x="675" y="1342"/>
                    <a:pt x="739" y="1368"/>
                    <a:pt x="804" y="1394"/>
                  </a:cubicBezTo>
                </a:path>
                <a:path w="7282" h="4686" extrusionOk="0">
                  <a:moveTo>
                    <a:pt x="2766" y="885"/>
                  </a:moveTo>
                  <a:cubicBezTo>
                    <a:pt x="2785" y="914"/>
                    <a:pt x="2791" y="945"/>
                    <a:pt x="2800" y="979"/>
                  </a:cubicBezTo>
                  <a:cubicBezTo>
                    <a:pt x="2813" y="1026"/>
                    <a:pt x="2837" y="1071"/>
                    <a:pt x="2855" y="1117"/>
                  </a:cubicBezTo>
                  <a:cubicBezTo>
                    <a:pt x="2884" y="1190"/>
                    <a:pt x="2910" y="1264"/>
                    <a:pt x="2934" y="1339"/>
                  </a:cubicBezTo>
                  <a:cubicBezTo>
                    <a:pt x="2959" y="1416"/>
                    <a:pt x="2978" y="1498"/>
                    <a:pt x="3009" y="1572"/>
                  </a:cubicBezTo>
                  <a:cubicBezTo>
                    <a:pt x="3014" y="1585"/>
                    <a:pt x="3049" y="1672"/>
                    <a:pt x="3079" y="1662"/>
                  </a:cubicBezTo>
                  <a:cubicBezTo>
                    <a:pt x="3086" y="1651"/>
                    <a:pt x="3094" y="1639"/>
                    <a:pt x="3101" y="1628"/>
                  </a:cubicBezTo>
                </a:path>
                <a:path w="7282" h="4686" extrusionOk="0">
                  <a:moveTo>
                    <a:pt x="2865" y="944"/>
                  </a:moveTo>
                  <a:cubicBezTo>
                    <a:pt x="2900" y="902"/>
                    <a:pt x="2929" y="880"/>
                    <a:pt x="2973" y="851"/>
                  </a:cubicBezTo>
                  <a:cubicBezTo>
                    <a:pt x="3006" y="829"/>
                    <a:pt x="3040" y="816"/>
                    <a:pt x="3079" y="834"/>
                  </a:cubicBezTo>
                  <a:cubicBezTo>
                    <a:pt x="3117" y="851"/>
                    <a:pt x="3126" y="898"/>
                    <a:pt x="3133" y="934"/>
                  </a:cubicBezTo>
                  <a:cubicBezTo>
                    <a:pt x="3143" y="985"/>
                    <a:pt x="3141" y="1040"/>
                    <a:pt x="3141" y="1092"/>
                  </a:cubicBezTo>
                  <a:cubicBezTo>
                    <a:pt x="3141" y="1165"/>
                    <a:pt x="3136" y="1236"/>
                    <a:pt x="3133" y="1309"/>
                  </a:cubicBezTo>
                  <a:cubicBezTo>
                    <a:pt x="3131" y="1355"/>
                    <a:pt x="3121" y="1397"/>
                    <a:pt x="3121" y="1444"/>
                  </a:cubicBezTo>
                  <a:cubicBezTo>
                    <a:pt x="3123" y="1473"/>
                    <a:pt x="3124" y="1483"/>
                    <a:pt x="3124" y="1502"/>
                  </a:cubicBezTo>
                </a:path>
                <a:path w="7282" h="4686" extrusionOk="0">
                  <a:moveTo>
                    <a:pt x="3188" y="2107"/>
                  </a:moveTo>
                  <a:cubicBezTo>
                    <a:pt x="3175" y="2161"/>
                    <a:pt x="3157" y="2211"/>
                    <a:pt x="3153" y="2265"/>
                  </a:cubicBezTo>
                  <a:cubicBezTo>
                    <a:pt x="3150" y="2300"/>
                    <a:pt x="3159" y="2337"/>
                    <a:pt x="3204" y="2328"/>
                  </a:cubicBezTo>
                  <a:cubicBezTo>
                    <a:pt x="3268" y="2316"/>
                    <a:pt x="3324" y="2251"/>
                    <a:pt x="3361" y="2203"/>
                  </a:cubicBezTo>
                  <a:cubicBezTo>
                    <a:pt x="3400" y="2153"/>
                    <a:pt x="3425" y="2113"/>
                    <a:pt x="3418" y="2052"/>
                  </a:cubicBezTo>
                  <a:cubicBezTo>
                    <a:pt x="3364" y="2040"/>
                    <a:pt x="3316" y="2055"/>
                    <a:pt x="3266" y="2085"/>
                  </a:cubicBezTo>
                  <a:cubicBezTo>
                    <a:pt x="3231" y="2106"/>
                    <a:pt x="3158" y="2156"/>
                    <a:pt x="3166" y="2115"/>
                  </a:cubicBezTo>
                  <a:cubicBezTo>
                    <a:pt x="3172" y="2102"/>
                    <a:pt x="3177" y="2090"/>
                    <a:pt x="3183" y="2077"/>
                  </a:cubicBezTo>
                </a:path>
                <a:path w="7282" h="4686" extrusionOk="0">
                  <a:moveTo>
                    <a:pt x="918" y="1901"/>
                  </a:moveTo>
                  <a:cubicBezTo>
                    <a:pt x="950" y="1919"/>
                    <a:pt x="985" y="1916"/>
                    <a:pt x="1023" y="1919"/>
                  </a:cubicBezTo>
                  <a:cubicBezTo>
                    <a:pt x="1093" y="1924"/>
                    <a:pt x="1162" y="1927"/>
                    <a:pt x="1232" y="1934"/>
                  </a:cubicBezTo>
                  <a:cubicBezTo>
                    <a:pt x="1303" y="1941"/>
                    <a:pt x="1373" y="1951"/>
                    <a:pt x="1443" y="1962"/>
                  </a:cubicBezTo>
                  <a:cubicBezTo>
                    <a:pt x="1481" y="1968"/>
                    <a:pt x="1517" y="1975"/>
                    <a:pt x="1555" y="1984"/>
                  </a:cubicBezTo>
                </a:path>
                <a:path w="7282" h="4686" extrusionOk="0">
                  <a:moveTo>
                    <a:pt x="1052" y="2179"/>
                  </a:moveTo>
                  <a:cubicBezTo>
                    <a:pt x="1039" y="2194"/>
                    <a:pt x="1034" y="2199"/>
                    <a:pt x="1045" y="2212"/>
                  </a:cubicBezTo>
                  <a:cubicBezTo>
                    <a:pt x="1074" y="2214"/>
                    <a:pt x="1102" y="2214"/>
                    <a:pt x="1132" y="2213"/>
                  </a:cubicBezTo>
                  <a:cubicBezTo>
                    <a:pt x="1193" y="2211"/>
                    <a:pt x="1254" y="2212"/>
                    <a:pt x="1315" y="2212"/>
                  </a:cubicBezTo>
                  <a:cubicBezTo>
                    <a:pt x="1368" y="2212"/>
                    <a:pt x="1421" y="2215"/>
                    <a:pt x="1473" y="2222"/>
                  </a:cubicBezTo>
                  <a:cubicBezTo>
                    <a:pt x="1505" y="2226"/>
                    <a:pt x="1530" y="2234"/>
                    <a:pt x="1560" y="2245"/>
                  </a:cubicBezTo>
                </a:path>
                <a:path w="7282" h="4686" extrusionOk="0">
                  <a:moveTo>
                    <a:pt x="1047" y="2556"/>
                  </a:moveTo>
                  <a:cubicBezTo>
                    <a:pt x="1027" y="2550"/>
                    <a:pt x="1020" y="2546"/>
                    <a:pt x="1013" y="2531"/>
                  </a:cubicBezTo>
                  <a:cubicBezTo>
                    <a:pt x="1034" y="2505"/>
                    <a:pt x="1052" y="2514"/>
                    <a:pt x="1088" y="2519"/>
                  </a:cubicBezTo>
                  <a:cubicBezTo>
                    <a:pt x="1167" y="2530"/>
                    <a:pt x="1238" y="2534"/>
                    <a:pt x="1318" y="2529"/>
                  </a:cubicBezTo>
                  <a:cubicBezTo>
                    <a:pt x="1417" y="2523"/>
                    <a:pt x="1516" y="2514"/>
                    <a:pt x="1615" y="2506"/>
                  </a:cubicBezTo>
                </a:path>
                <a:path w="7282" h="4686" extrusionOk="0">
                  <a:moveTo>
                    <a:pt x="5802" y="3091"/>
                  </a:moveTo>
                  <a:cubicBezTo>
                    <a:pt x="5804" y="3091"/>
                    <a:pt x="5845" y="3101"/>
                    <a:pt x="5882" y="3133"/>
                  </a:cubicBezTo>
                  <a:cubicBezTo>
                    <a:pt x="5942" y="3185"/>
                    <a:pt x="5998" y="3240"/>
                    <a:pt x="6053" y="3297"/>
                  </a:cubicBezTo>
                  <a:cubicBezTo>
                    <a:pt x="6116" y="3362"/>
                    <a:pt x="6177" y="3427"/>
                    <a:pt x="6233" y="3498"/>
                  </a:cubicBezTo>
                  <a:cubicBezTo>
                    <a:pt x="6272" y="3547"/>
                    <a:pt x="6313" y="3638"/>
                    <a:pt x="6370" y="3669"/>
                  </a:cubicBezTo>
                  <a:cubicBezTo>
                    <a:pt x="6375" y="3670"/>
                    <a:pt x="6380" y="3670"/>
                    <a:pt x="6385" y="3671"/>
                  </a:cubicBezTo>
                </a:path>
                <a:path w="7282" h="4686" extrusionOk="0">
                  <a:moveTo>
                    <a:pt x="6448" y="3011"/>
                  </a:moveTo>
                  <a:cubicBezTo>
                    <a:pt x="6424" y="3027"/>
                    <a:pt x="6405" y="3056"/>
                    <a:pt x="6377" y="3096"/>
                  </a:cubicBezTo>
                  <a:cubicBezTo>
                    <a:pt x="6316" y="3183"/>
                    <a:pt x="6259" y="3273"/>
                    <a:pt x="6202" y="3364"/>
                  </a:cubicBezTo>
                  <a:cubicBezTo>
                    <a:pt x="6137" y="3468"/>
                    <a:pt x="6071" y="3569"/>
                    <a:pt x="6002" y="3669"/>
                  </a:cubicBezTo>
                  <a:cubicBezTo>
                    <a:pt x="5963" y="3725"/>
                    <a:pt x="5935" y="3772"/>
                    <a:pt x="5879" y="3811"/>
                  </a:cubicBezTo>
                </a:path>
                <a:path w="7282" h="4686" extrusionOk="0">
                  <a:moveTo>
                    <a:pt x="5782" y="3520"/>
                  </a:moveTo>
                  <a:cubicBezTo>
                    <a:pt x="5762" y="3498"/>
                    <a:pt x="5788" y="3493"/>
                    <a:pt x="5817" y="3478"/>
                  </a:cubicBezTo>
                  <a:cubicBezTo>
                    <a:pt x="5854" y="3459"/>
                    <a:pt x="5894" y="3444"/>
                    <a:pt x="5930" y="3423"/>
                  </a:cubicBezTo>
                  <a:cubicBezTo>
                    <a:pt x="5993" y="3387"/>
                    <a:pt x="6053" y="3351"/>
                    <a:pt x="6107" y="3302"/>
                  </a:cubicBezTo>
                  <a:cubicBezTo>
                    <a:pt x="6153" y="3256"/>
                    <a:pt x="6168" y="3241"/>
                    <a:pt x="6195" y="3207"/>
                  </a:cubicBezTo>
                </a:path>
                <a:path w="7282" h="4686" extrusionOk="0">
                  <a:moveTo>
                    <a:pt x="6142" y="2981"/>
                  </a:moveTo>
                  <a:cubicBezTo>
                    <a:pt x="6136" y="3082"/>
                    <a:pt x="6133" y="3186"/>
                    <a:pt x="6143" y="3287"/>
                  </a:cubicBezTo>
                  <a:cubicBezTo>
                    <a:pt x="6155" y="3407"/>
                    <a:pt x="6180" y="3526"/>
                    <a:pt x="6190" y="3646"/>
                  </a:cubicBezTo>
                  <a:cubicBezTo>
                    <a:pt x="6196" y="3718"/>
                    <a:pt x="6199" y="3791"/>
                    <a:pt x="6205" y="3864"/>
                  </a:cubicBezTo>
                </a:path>
                <a:path w="7282" h="4686" extrusionOk="0">
                  <a:moveTo>
                    <a:pt x="4371" y="1254"/>
                  </a:moveTo>
                  <a:cubicBezTo>
                    <a:pt x="4406" y="1251"/>
                    <a:pt x="4441" y="1245"/>
                    <a:pt x="4476" y="1243"/>
                  </a:cubicBezTo>
                  <a:cubicBezTo>
                    <a:pt x="4537" y="1239"/>
                    <a:pt x="4598" y="1233"/>
                    <a:pt x="4659" y="1230"/>
                  </a:cubicBezTo>
                  <a:cubicBezTo>
                    <a:pt x="4755" y="1226"/>
                    <a:pt x="4851" y="1223"/>
                    <a:pt x="4947" y="1218"/>
                  </a:cubicBezTo>
                  <a:cubicBezTo>
                    <a:pt x="5037" y="1214"/>
                    <a:pt x="5127" y="1215"/>
                    <a:pt x="5217" y="1216"/>
                  </a:cubicBezTo>
                  <a:cubicBezTo>
                    <a:pt x="5246" y="1216"/>
                    <a:pt x="5321" y="1215"/>
                    <a:pt x="5339" y="1249"/>
                  </a:cubicBezTo>
                  <a:cubicBezTo>
                    <a:pt x="5341" y="1259"/>
                    <a:pt x="5343" y="1268"/>
                    <a:pt x="5345" y="1278"/>
                  </a:cubicBezTo>
                </a:path>
                <a:path w="7282" h="4686" extrusionOk="0">
                  <a:moveTo>
                    <a:pt x="4461" y="1552"/>
                  </a:moveTo>
                  <a:cubicBezTo>
                    <a:pt x="4429" y="1571"/>
                    <a:pt x="4423" y="1585"/>
                    <a:pt x="4404" y="1569"/>
                  </a:cubicBezTo>
                  <a:cubicBezTo>
                    <a:pt x="4436" y="1545"/>
                    <a:pt x="4456" y="1539"/>
                    <a:pt x="4496" y="1534"/>
                  </a:cubicBezTo>
                  <a:cubicBezTo>
                    <a:pt x="4558" y="1527"/>
                    <a:pt x="4620" y="1534"/>
                    <a:pt x="4682" y="1539"/>
                  </a:cubicBezTo>
                  <a:cubicBezTo>
                    <a:pt x="4770" y="1547"/>
                    <a:pt x="4858" y="1557"/>
                    <a:pt x="4947" y="1562"/>
                  </a:cubicBezTo>
                  <a:cubicBezTo>
                    <a:pt x="5027" y="1567"/>
                    <a:pt x="5107" y="1564"/>
                    <a:pt x="5187" y="1565"/>
                  </a:cubicBezTo>
                  <a:cubicBezTo>
                    <a:pt x="5221" y="1565"/>
                    <a:pt x="5254" y="1569"/>
                    <a:pt x="5287" y="1575"/>
                  </a:cubicBezTo>
                </a:path>
                <a:path w="7282" h="4686" extrusionOk="0">
                  <a:moveTo>
                    <a:pt x="4456" y="1856"/>
                  </a:moveTo>
                  <a:cubicBezTo>
                    <a:pt x="4399" y="1865"/>
                    <a:pt x="4491" y="1859"/>
                    <a:pt x="4504" y="1861"/>
                  </a:cubicBezTo>
                  <a:cubicBezTo>
                    <a:pt x="4555" y="1867"/>
                    <a:pt x="4605" y="1876"/>
                    <a:pt x="4656" y="1883"/>
                  </a:cubicBezTo>
                  <a:cubicBezTo>
                    <a:pt x="4732" y="1893"/>
                    <a:pt x="4808" y="1897"/>
                    <a:pt x="4884" y="1908"/>
                  </a:cubicBezTo>
                  <a:cubicBezTo>
                    <a:pt x="4951" y="1918"/>
                    <a:pt x="5018" y="1932"/>
                    <a:pt x="5085" y="1944"/>
                  </a:cubicBezTo>
                  <a:cubicBezTo>
                    <a:pt x="5095" y="1946"/>
                    <a:pt x="5104" y="1947"/>
                    <a:pt x="5114" y="1949"/>
                  </a:cubicBezTo>
                </a:path>
                <a:path w="7282" h="4686" extrusionOk="0">
                  <a:moveTo>
                    <a:pt x="4351" y="2187"/>
                  </a:moveTo>
                  <a:cubicBezTo>
                    <a:pt x="4407" y="2179"/>
                    <a:pt x="4464" y="2160"/>
                    <a:pt x="4522" y="2150"/>
                  </a:cubicBezTo>
                  <a:cubicBezTo>
                    <a:pt x="4612" y="2135"/>
                    <a:pt x="4699" y="2132"/>
                    <a:pt x="4789" y="2144"/>
                  </a:cubicBezTo>
                  <a:cubicBezTo>
                    <a:pt x="4861" y="2154"/>
                    <a:pt x="4933" y="2170"/>
                    <a:pt x="5004" y="2184"/>
                  </a:cubicBezTo>
                </a:path>
                <a:path w="7282" h="4686" extrusionOk="0">
                  <a:moveTo>
                    <a:pt x="6005" y="1474"/>
                  </a:moveTo>
                  <a:cubicBezTo>
                    <a:pt x="6042" y="1467"/>
                    <a:pt x="6072" y="1477"/>
                    <a:pt x="6110" y="1482"/>
                  </a:cubicBezTo>
                  <a:cubicBezTo>
                    <a:pt x="6172" y="1489"/>
                    <a:pt x="6235" y="1501"/>
                    <a:pt x="6298" y="1504"/>
                  </a:cubicBezTo>
                  <a:cubicBezTo>
                    <a:pt x="6360" y="1507"/>
                    <a:pt x="6421" y="1509"/>
                    <a:pt x="6483" y="1510"/>
                  </a:cubicBezTo>
                  <a:cubicBezTo>
                    <a:pt x="6515" y="1512"/>
                    <a:pt x="6524" y="1513"/>
                    <a:pt x="6545" y="1512"/>
                  </a:cubicBezTo>
                </a:path>
                <a:path w="7282" h="4686" extrusionOk="0">
                  <a:moveTo>
                    <a:pt x="6068" y="1728"/>
                  </a:moveTo>
                  <a:cubicBezTo>
                    <a:pt x="6061" y="1725"/>
                    <a:pt x="6054" y="1723"/>
                    <a:pt x="6047" y="1720"/>
                  </a:cubicBezTo>
                  <a:cubicBezTo>
                    <a:pt x="6080" y="1745"/>
                    <a:pt x="6108" y="1771"/>
                    <a:pt x="6145" y="1790"/>
                  </a:cubicBezTo>
                  <a:cubicBezTo>
                    <a:pt x="6191" y="1814"/>
                    <a:pt x="6236" y="1822"/>
                    <a:pt x="6287" y="1826"/>
                  </a:cubicBezTo>
                  <a:cubicBezTo>
                    <a:pt x="6338" y="1830"/>
                    <a:pt x="6387" y="1831"/>
                    <a:pt x="6438" y="1831"/>
                  </a:cubicBezTo>
                </a:path>
                <a:path w="7282" h="4686" extrusionOk="0">
                  <a:moveTo>
                    <a:pt x="5965" y="1982"/>
                  </a:moveTo>
                  <a:cubicBezTo>
                    <a:pt x="6001" y="1992"/>
                    <a:pt x="6034" y="1983"/>
                    <a:pt x="6073" y="1982"/>
                  </a:cubicBezTo>
                  <a:cubicBezTo>
                    <a:pt x="6124" y="1980"/>
                    <a:pt x="6177" y="1983"/>
                    <a:pt x="6228" y="1979"/>
                  </a:cubicBezTo>
                  <a:cubicBezTo>
                    <a:pt x="6263" y="1976"/>
                    <a:pt x="6297" y="1972"/>
                    <a:pt x="6332" y="1971"/>
                  </a:cubicBezTo>
                </a:path>
                <a:path w="7282" h="4686" extrusionOk="0">
                  <a:moveTo>
                    <a:pt x="5954" y="2288"/>
                  </a:moveTo>
                  <a:cubicBezTo>
                    <a:pt x="5934" y="2305"/>
                    <a:pt x="5928" y="2309"/>
                    <a:pt x="5922" y="2326"/>
                  </a:cubicBezTo>
                  <a:cubicBezTo>
                    <a:pt x="5960" y="2334"/>
                    <a:pt x="5999" y="2336"/>
                    <a:pt x="6038" y="2341"/>
                  </a:cubicBezTo>
                  <a:cubicBezTo>
                    <a:pt x="6090" y="2347"/>
                    <a:pt x="6144" y="2351"/>
                    <a:pt x="6195" y="2363"/>
                  </a:cubicBezTo>
                  <a:cubicBezTo>
                    <a:pt x="6225" y="2370"/>
                    <a:pt x="6250" y="2375"/>
                    <a:pt x="6280" y="2378"/>
                  </a:cubicBezTo>
                </a:path>
                <a:path w="7282" h="4686" extrusionOk="0">
                  <a:moveTo>
                    <a:pt x="2823" y="3852"/>
                  </a:moveTo>
                  <a:cubicBezTo>
                    <a:pt x="2841" y="3815"/>
                    <a:pt x="2855" y="3811"/>
                    <a:pt x="2895" y="3804"/>
                  </a:cubicBezTo>
                  <a:cubicBezTo>
                    <a:pt x="2948" y="3795"/>
                    <a:pt x="3002" y="3792"/>
                    <a:pt x="3056" y="3786"/>
                  </a:cubicBezTo>
                  <a:cubicBezTo>
                    <a:pt x="3133" y="3777"/>
                    <a:pt x="3211" y="3765"/>
                    <a:pt x="3289" y="3759"/>
                  </a:cubicBezTo>
                  <a:cubicBezTo>
                    <a:pt x="3350" y="3754"/>
                    <a:pt x="3414" y="3741"/>
                    <a:pt x="3474" y="3759"/>
                  </a:cubicBezTo>
                  <a:cubicBezTo>
                    <a:pt x="3496" y="3770"/>
                    <a:pt x="3502" y="3772"/>
                    <a:pt x="3514" y="3781"/>
                  </a:cubicBezTo>
                </a:path>
                <a:path w="7282" h="4686" extrusionOk="0">
                  <a:moveTo>
                    <a:pt x="2863" y="4176"/>
                  </a:moveTo>
                  <a:cubicBezTo>
                    <a:pt x="2856" y="4176"/>
                    <a:pt x="2850" y="4176"/>
                    <a:pt x="2843" y="4176"/>
                  </a:cubicBezTo>
                  <a:cubicBezTo>
                    <a:pt x="2853" y="4133"/>
                    <a:pt x="2892" y="4112"/>
                    <a:pt x="2933" y="4093"/>
                  </a:cubicBezTo>
                  <a:cubicBezTo>
                    <a:pt x="2993" y="4065"/>
                    <a:pt x="3063" y="4051"/>
                    <a:pt x="3129" y="4045"/>
                  </a:cubicBezTo>
                  <a:cubicBezTo>
                    <a:pt x="3189" y="4040"/>
                    <a:pt x="3252" y="4048"/>
                    <a:pt x="3311" y="4057"/>
                  </a:cubicBezTo>
                  <a:cubicBezTo>
                    <a:pt x="3340" y="4062"/>
                    <a:pt x="3367" y="4067"/>
                    <a:pt x="3396" y="4070"/>
                  </a:cubicBezTo>
                </a:path>
                <a:path w="7282" h="4686" extrusionOk="0">
                  <a:moveTo>
                    <a:pt x="2949" y="4366"/>
                  </a:moveTo>
                  <a:cubicBezTo>
                    <a:pt x="2980" y="4362"/>
                    <a:pt x="3010" y="4347"/>
                    <a:pt x="3041" y="4344"/>
                  </a:cubicBezTo>
                  <a:cubicBezTo>
                    <a:pt x="3084" y="4339"/>
                    <a:pt x="3122" y="4349"/>
                    <a:pt x="3164" y="4357"/>
                  </a:cubicBezTo>
                  <a:cubicBezTo>
                    <a:pt x="3207" y="4365"/>
                    <a:pt x="3250" y="4375"/>
                    <a:pt x="3294" y="4376"/>
                  </a:cubicBezTo>
                  <a:cubicBezTo>
                    <a:pt x="3319" y="4376"/>
                    <a:pt x="3340" y="4370"/>
                    <a:pt x="3363" y="4362"/>
                  </a:cubicBezTo>
                </a:path>
                <a:path w="7282" h="4686" extrusionOk="0">
                  <a:moveTo>
                    <a:pt x="2738" y="4672"/>
                  </a:moveTo>
                  <a:cubicBezTo>
                    <a:pt x="2707" y="4696"/>
                    <a:pt x="2776" y="4682"/>
                    <a:pt x="2798" y="4680"/>
                  </a:cubicBezTo>
                  <a:cubicBezTo>
                    <a:pt x="2867" y="4673"/>
                    <a:pt x="2933" y="4655"/>
                    <a:pt x="2998" y="4633"/>
                  </a:cubicBezTo>
                  <a:cubicBezTo>
                    <a:pt x="3097" y="4600"/>
                    <a:pt x="3195" y="4556"/>
                    <a:pt x="3291" y="4515"/>
                  </a:cubicBezTo>
                  <a:cubicBezTo>
                    <a:pt x="3361" y="4483"/>
                    <a:pt x="3384" y="4473"/>
                    <a:pt x="3431" y="4454"/>
                  </a:cubicBezTo>
                </a:path>
                <a:path w="7282" h="4686" extrusionOk="0">
                  <a:moveTo>
                    <a:pt x="270" y="232"/>
                  </a:moveTo>
                  <a:cubicBezTo>
                    <a:pt x="252" y="213"/>
                    <a:pt x="248" y="208"/>
                    <a:pt x="235" y="186"/>
                  </a:cubicBezTo>
                  <a:cubicBezTo>
                    <a:pt x="260" y="207"/>
                    <a:pt x="259" y="208"/>
                    <a:pt x="289" y="221"/>
                  </a:cubicBezTo>
                  <a:cubicBezTo>
                    <a:pt x="409" y="271"/>
                    <a:pt x="552" y="261"/>
                    <a:pt x="679" y="259"/>
                  </a:cubicBezTo>
                  <a:cubicBezTo>
                    <a:pt x="789" y="257"/>
                    <a:pt x="898" y="248"/>
                    <a:pt x="1008" y="249"/>
                  </a:cubicBezTo>
                  <a:cubicBezTo>
                    <a:pt x="1079" y="250"/>
                    <a:pt x="1146" y="260"/>
                    <a:pt x="1215" y="274"/>
                  </a:cubicBezTo>
                  <a:cubicBezTo>
                    <a:pt x="1237" y="279"/>
                    <a:pt x="1312" y="287"/>
                    <a:pt x="1328" y="309"/>
                  </a:cubicBezTo>
                  <a:cubicBezTo>
                    <a:pt x="1330" y="329"/>
                    <a:pt x="1331" y="335"/>
                    <a:pt x="1323" y="347"/>
                  </a:cubicBezTo>
                </a:path>
                <a:path w="7282" h="4686" extrusionOk="0">
                  <a:moveTo>
                    <a:pt x="217" y="679"/>
                  </a:moveTo>
                  <a:cubicBezTo>
                    <a:pt x="221" y="636"/>
                    <a:pt x="230" y="620"/>
                    <a:pt x="280" y="611"/>
                  </a:cubicBezTo>
                  <a:cubicBezTo>
                    <a:pt x="350" y="599"/>
                    <a:pt x="426" y="598"/>
                    <a:pt x="497" y="595"/>
                  </a:cubicBezTo>
                  <a:cubicBezTo>
                    <a:pt x="636" y="590"/>
                    <a:pt x="774" y="586"/>
                    <a:pt x="913" y="593"/>
                  </a:cubicBezTo>
                  <a:cubicBezTo>
                    <a:pt x="1000" y="597"/>
                    <a:pt x="1087" y="604"/>
                    <a:pt x="1173" y="618"/>
                  </a:cubicBezTo>
                  <a:cubicBezTo>
                    <a:pt x="1188" y="620"/>
                    <a:pt x="1279" y="653"/>
                    <a:pt x="1293" y="644"/>
                  </a:cubicBezTo>
                  <a:cubicBezTo>
                    <a:pt x="1311" y="649"/>
                    <a:pt x="1314" y="648"/>
                    <a:pt x="1292" y="630"/>
                  </a:cubicBezTo>
                </a:path>
                <a:path w="7282" h="4686" extrusionOk="0">
                  <a:moveTo>
                    <a:pt x="4049" y="3533"/>
                  </a:moveTo>
                  <a:cubicBezTo>
                    <a:pt x="4056" y="3514"/>
                    <a:pt x="4057" y="3508"/>
                    <a:pt x="4071" y="3503"/>
                  </a:cubicBezTo>
                  <a:cubicBezTo>
                    <a:pt x="4075" y="3540"/>
                    <a:pt x="4070" y="3561"/>
                    <a:pt x="4049" y="3593"/>
                  </a:cubicBezTo>
                  <a:cubicBezTo>
                    <a:pt x="4034" y="3616"/>
                    <a:pt x="4017" y="3637"/>
                    <a:pt x="4007" y="3663"/>
                  </a:cubicBezTo>
                  <a:cubicBezTo>
                    <a:pt x="3995" y="3694"/>
                    <a:pt x="3974" y="3745"/>
                    <a:pt x="4012" y="3764"/>
                  </a:cubicBezTo>
                  <a:cubicBezTo>
                    <a:pt x="4049" y="3783"/>
                    <a:pt x="4120" y="3754"/>
                    <a:pt x="4157" y="3749"/>
                  </a:cubicBezTo>
                  <a:cubicBezTo>
                    <a:pt x="4199" y="3744"/>
                    <a:pt x="4238" y="3751"/>
                    <a:pt x="4279" y="3756"/>
                  </a:cubicBezTo>
                  <a:cubicBezTo>
                    <a:pt x="4311" y="3759"/>
                    <a:pt x="4344" y="3776"/>
                    <a:pt x="4376" y="3776"/>
                  </a:cubicBezTo>
                  <a:cubicBezTo>
                    <a:pt x="4383" y="3775"/>
                    <a:pt x="4389" y="3773"/>
                    <a:pt x="4396" y="3772"/>
                  </a:cubicBezTo>
                </a:path>
                <a:path w="7282" h="4686" extrusionOk="0">
                  <a:moveTo>
                    <a:pt x="2668" y="2955"/>
                  </a:moveTo>
                  <a:cubicBezTo>
                    <a:pt x="2662" y="3015"/>
                    <a:pt x="2668" y="3074"/>
                    <a:pt x="2671" y="3134"/>
                  </a:cubicBezTo>
                  <a:cubicBezTo>
                    <a:pt x="2673" y="3175"/>
                    <a:pt x="2674" y="3220"/>
                    <a:pt x="2685" y="3260"/>
                  </a:cubicBezTo>
                  <a:cubicBezTo>
                    <a:pt x="2692" y="3284"/>
                    <a:pt x="2700" y="3308"/>
                    <a:pt x="2708" y="3332"/>
                  </a:cubicBezTo>
                </a:path>
                <a:path w="7282" h="4686" extrusionOk="0">
                  <a:moveTo>
                    <a:pt x="2748" y="2832"/>
                  </a:moveTo>
                  <a:cubicBezTo>
                    <a:pt x="2735" y="2848"/>
                    <a:pt x="2705" y="2893"/>
                    <a:pt x="2683" y="2898"/>
                  </a:cubicBezTo>
                  <a:cubicBezTo>
                    <a:pt x="2655" y="2904"/>
                    <a:pt x="2634" y="2891"/>
                    <a:pt x="2610" y="2875"/>
                  </a:cubicBezTo>
                  <a:cubicBezTo>
                    <a:pt x="2553" y="2837"/>
                    <a:pt x="2514" y="2766"/>
                    <a:pt x="2488" y="2705"/>
                  </a:cubicBezTo>
                  <a:cubicBezTo>
                    <a:pt x="2455" y="2626"/>
                    <a:pt x="2436" y="2533"/>
                    <a:pt x="2465" y="2449"/>
                  </a:cubicBezTo>
                  <a:cubicBezTo>
                    <a:pt x="2484" y="2393"/>
                    <a:pt x="2531" y="2347"/>
                    <a:pt x="2580" y="2316"/>
                  </a:cubicBezTo>
                  <a:cubicBezTo>
                    <a:pt x="2650" y="2272"/>
                    <a:pt x="2741" y="2255"/>
                    <a:pt x="2823" y="2253"/>
                  </a:cubicBezTo>
                  <a:cubicBezTo>
                    <a:pt x="2904" y="2251"/>
                    <a:pt x="2979" y="2274"/>
                    <a:pt x="3051" y="2310"/>
                  </a:cubicBezTo>
                  <a:cubicBezTo>
                    <a:pt x="3100" y="2334"/>
                    <a:pt x="3145" y="2371"/>
                    <a:pt x="3166" y="2423"/>
                  </a:cubicBezTo>
                  <a:cubicBezTo>
                    <a:pt x="3183" y="2467"/>
                    <a:pt x="3171" y="2523"/>
                    <a:pt x="3148" y="2562"/>
                  </a:cubicBezTo>
                  <a:cubicBezTo>
                    <a:pt x="3133" y="2588"/>
                    <a:pt x="3106" y="2600"/>
                    <a:pt x="3089" y="2622"/>
                  </a:cubicBezTo>
                  <a:cubicBezTo>
                    <a:pt x="3087" y="2627"/>
                    <a:pt x="3086" y="2632"/>
                    <a:pt x="3084" y="2637"/>
                  </a:cubicBezTo>
                  <a:cubicBezTo>
                    <a:pt x="3119" y="2648"/>
                    <a:pt x="3142" y="2628"/>
                    <a:pt x="3146" y="2677"/>
                  </a:cubicBezTo>
                  <a:cubicBezTo>
                    <a:pt x="3152" y="2757"/>
                    <a:pt x="3117" y="2850"/>
                    <a:pt x="3109" y="2930"/>
                  </a:cubicBezTo>
                  <a:cubicBezTo>
                    <a:pt x="3103" y="2989"/>
                    <a:pt x="3121" y="3085"/>
                    <a:pt x="3091" y="3138"/>
                  </a:cubicBezTo>
                  <a:cubicBezTo>
                    <a:pt x="3072" y="3172"/>
                    <a:pt x="3089" y="3146"/>
                    <a:pt x="3068" y="3123"/>
                  </a:cubicBezTo>
                </a:path>
                <a:path w="7282" h="4686" extrusionOk="0">
                  <a:moveTo>
                    <a:pt x="2670" y="3172"/>
                  </a:moveTo>
                  <a:cubicBezTo>
                    <a:pt x="2604" y="3207"/>
                    <a:pt x="2722" y="3150"/>
                    <a:pt x="2731" y="3146"/>
                  </a:cubicBezTo>
                  <a:cubicBezTo>
                    <a:pt x="2790" y="3122"/>
                    <a:pt x="2849" y="3102"/>
                    <a:pt x="2911" y="3086"/>
                  </a:cubicBezTo>
                  <a:cubicBezTo>
                    <a:pt x="2961" y="3073"/>
                    <a:pt x="3012" y="3065"/>
                    <a:pt x="3064" y="3063"/>
                  </a:cubicBezTo>
                  <a:cubicBezTo>
                    <a:pt x="3082" y="3062"/>
                    <a:pt x="3100" y="3062"/>
                    <a:pt x="3118" y="3061"/>
                  </a:cubicBezTo>
                  <a:cubicBezTo>
                    <a:pt x="3084" y="3075"/>
                    <a:pt x="3051" y="3090"/>
                    <a:pt x="3018" y="3108"/>
                  </a:cubicBezTo>
                  <a:cubicBezTo>
                    <a:pt x="2967" y="3136"/>
                    <a:pt x="2915" y="3163"/>
                    <a:pt x="2865" y="3191"/>
                  </a:cubicBezTo>
                  <a:cubicBezTo>
                    <a:pt x="2830" y="3211"/>
                    <a:pt x="2795" y="3233"/>
                    <a:pt x="2756" y="3246"/>
                  </a:cubicBezTo>
                  <a:cubicBezTo>
                    <a:pt x="2751" y="3247"/>
                    <a:pt x="2746" y="3248"/>
                    <a:pt x="2741" y="3249"/>
                  </a:cubicBezTo>
                  <a:cubicBezTo>
                    <a:pt x="2771" y="3244"/>
                    <a:pt x="2798" y="3245"/>
                    <a:pt x="2828" y="3244"/>
                  </a:cubicBezTo>
                  <a:cubicBezTo>
                    <a:pt x="2866" y="3242"/>
                    <a:pt x="2904" y="3241"/>
                    <a:pt x="2941" y="3236"/>
                  </a:cubicBezTo>
                  <a:cubicBezTo>
                    <a:pt x="2985" y="3230"/>
                    <a:pt x="3029" y="3218"/>
                    <a:pt x="3074" y="3216"/>
                  </a:cubicBezTo>
                  <a:cubicBezTo>
                    <a:pt x="3079" y="3216"/>
                    <a:pt x="3084" y="3216"/>
                    <a:pt x="3089" y="3216"/>
                  </a:cubicBezTo>
                  <a:cubicBezTo>
                    <a:pt x="3085" y="3249"/>
                    <a:pt x="3059" y="3260"/>
                    <a:pt x="3029" y="3280"/>
                  </a:cubicBezTo>
                  <a:cubicBezTo>
                    <a:pt x="2992" y="3304"/>
                    <a:pt x="2953" y="3326"/>
                    <a:pt x="2916" y="3349"/>
                  </a:cubicBezTo>
                  <a:cubicBezTo>
                    <a:pt x="2899" y="3359"/>
                    <a:pt x="2894" y="3362"/>
                    <a:pt x="2891" y="3375"/>
                  </a:cubicBezTo>
                  <a:cubicBezTo>
                    <a:pt x="2928" y="3367"/>
                    <a:pt x="2962" y="3355"/>
                    <a:pt x="2998" y="3344"/>
                  </a:cubicBezTo>
                  <a:cubicBezTo>
                    <a:pt x="3027" y="3335"/>
                    <a:pt x="3049" y="3322"/>
                    <a:pt x="3079" y="3315"/>
                  </a:cubicBezTo>
                </a:path>
                <a:path w="7282" h="4686" extrusionOk="0">
                  <a:moveTo>
                    <a:pt x="2878" y="3119"/>
                  </a:moveTo>
                  <a:cubicBezTo>
                    <a:pt x="2897" y="3102"/>
                    <a:pt x="2904" y="3100"/>
                    <a:pt x="2909" y="3064"/>
                  </a:cubicBezTo>
                  <a:cubicBezTo>
                    <a:pt x="2915" y="3021"/>
                    <a:pt x="2909" y="2978"/>
                    <a:pt x="2900" y="2936"/>
                  </a:cubicBezTo>
                  <a:cubicBezTo>
                    <a:pt x="2883" y="2859"/>
                    <a:pt x="2854" y="2786"/>
                    <a:pt x="2823" y="2714"/>
                  </a:cubicBezTo>
                  <a:cubicBezTo>
                    <a:pt x="2796" y="2652"/>
                    <a:pt x="2764" y="2595"/>
                    <a:pt x="2731" y="2536"/>
                  </a:cubicBezTo>
                  <a:cubicBezTo>
                    <a:pt x="2719" y="2513"/>
                    <a:pt x="2716" y="2507"/>
                    <a:pt x="2711" y="2491"/>
                  </a:cubicBezTo>
                  <a:cubicBezTo>
                    <a:pt x="2744" y="2505"/>
                    <a:pt x="2760" y="2518"/>
                    <a:pt x="2781" y="2546"/>
                  </a:cubicBezTo>
                  <a:cubicBezTo>
                    <a:pt x="2806" y="2579"/>
                    <a:pt x="2826" y="2615"/>
                    <a:pt x="2845" y="2652"/>
                  </a:cubicBezTo>
                  <a:cubicBezTo>
                    <a:pt x="2860" y="2682"/>
                    <a:pt x="2872" y="2716"/>
                    <a:pt x="2890" y="2744"/>
                  </a:cubicBezTo>
                  <a:cubicBezTo>
                    <a:pt x="2894" y="2749"/>
                    <a:pt x="2899" y="2755"/>
                    <a:pt x="2903" y="2760"/>
                  </a:cubicBezTo>
                  <a:cubicBezTo>
                    <a:pt x="2915" y="2725"/>
                    <a:pt x="2918" y="2697"/>
                    <a:pt x="2916" y="2659"/>
                  </a:cubicBezTo>
                  <a:cubicBezTo>
                    <a:pt x="2914" y="2629"/>
                    <a:pt x="2909" y="2598"/>
                    <a:pt x="2904" y="2569"/>
                  </a:cubicBezTo>
                  <a:cubicBezTo>
                    <a:pt x="2934" y="2597"/>
                    <a:pt x="2954" y="2614"/>
                    <a:pt x="2993" y="2627"/>
                  </a:cubicBezTo>
                  <a:cubicBezTo>
                    <a:pt x="3022" y="2637"/>
                    <a:pt x="3039" y="2643"/>
                    <a:pt x="3069" y="2632"/>
                  </a:cubicBezTo>
                  <a:cubicBezTo>
                    <a:pt x="3090" y="2624"/>
                    <a:pt x="3097" y="2621"/>
                    <a:pt x="3109" y="2611"/>
                  </a:cubicBezTo>
                </a:path>
                <a:path w="7282" h="4686" extrusionOk="0">
                  <a:moveTo>
                    <a:pt x="6302" y="3420"/>
                  </a:moveTo>
                  <a:cubicBezTo>
                    <a:pt x="6294" y="3400"/>
                    <a:pt x="6288" y="3381"/>
                    <a:pt x="6283" y="3360"/>
                  </a:cubicBezTo>
                  <a:cubicBezTo>
                    <a:pt x="6301" y="3386"/>
                    <a:pt x="6312" y="3391"/>
                    <a:pt x="6345" y="3393"/>
                  </a:cubicBezTo>
                  <a:cubicBezTo>
                    <a:pt x="6374" y="3394"/>
                    <a:pt x="6392" y="3391"/>
                    <a:pt x="6417" y="3375"/>
                  </a:cubicBezTo>
                  <a:cubicBezTo>
                    <a:pt x="6442" y="3359"/>
                    <a:pt x="6468" y="3337"/>
                    <a:pt x="6488" y="3314"/>
                  </a:cubicBezTo>
                  <a:cubicBezTo>
                    <a:pt x="6510" y="3289"/>
                    <a:pt x="6529" y="3258"/>
                    <a:pt x="6545" y="3229"/>
                  </a:cubicBezTo>
                  <a:cubicBezTo>
                    <a:pt x="6560" y="3202"/>
                    <a:pt x="6572" y="3154"/>
                    <a:pt x="6605" y="3144"/>
                  </a:cubicBezTo>
                  <a:cubicBezTo>
                    <a:pt x="6626" y="3138"/>
                    <a:pt x="6665" y="3151"/>
                    <a:pt x="6683" y="3161"/>
                  </a:cubicBezTo>
                  <a:cubicBezTo>
                    <a:pt x="6714" y="3178"/>
                    <a:pt x="6744" y="3204"/>
                    <a:pt x="6773" y="3224"/>
                  </a:cubicBezTo>
                  <a:cubicBezTo>
                    <a:pt x="6803" y="3245"/>
                    <a:pt x="6799" y="3277"/>
                    <a:pt x="6815" y="3305"/>
                  </a:cubicBezTo>
                </a:path>
                <a:path w="7282" h="4686" extrusionOk="0">
                  <a:moveTo>
                    <a:pt x="6693" y="3430"/>
                  </a:moveTo>
                  <a:cubicBezTo>
                    <a:pt x="6683" y="3392"/>
                    <a:pt x="6703" y="3397"/>
                    <a:pt x="6740" y="3390"/>
                  </a:cubicBezTo>
                  <a:cubicBezTo>
                    <a:pt x="6771" y="3385"/>
                    <a:pt x="6802" y="3377"/>
                    <a:pt x="6832" y="3369"/>
                  </a:cubicBezTo>
                  <a:cubicBezTo>
                    <a:pt x="6874" y="3358"/>
                    <a:pt x="6917" y="3350"/>
                    <a:pt x="6960" y="3342"/>
                  </a:cubicBezTo>
                  <a:cubicBezTo>
                    <a:pt x="7002" y="3335"/>
                    <a:pt x="7036" y="3336"/>
                    <a:pt x="7075" y="3355"/>
                  </a:cubicBezTo>
                  <a:cubicBezTo>
                    <a:pt x="7090" y="3364"/>
                    <a:pt x="7095" y="3367"/>
                    <a:pt x="7085" y="3380"/>
                  </a:cubicBezTo>
                </a:path>
                <a:path w="7282" h="4686" extrusionOk="0">
                  <a:moveTo>
                    <a:pt x="6652" y="3510"/>
                  </a:moveTo>
                  <a:cubicBezTo>
                    <a:pt x="6685" y="3506"/>
                    <a:pt x="6681" y="3529"/>
                    <a:pt x="6688" y="3568"/>
                  </a:cubicBezTo>
                  <a:cubicBezTo>
                    <a:pt x="6699" y="3627"/>
                    <a:pt x="6711" y="3687"/>
                    <a:pt x="6717" y="3747"/>
                  </a:cubicBezTo>
                  <a:cubicBezTo>
                    <a:pt x="6725" y="3836"/>
                    <a:pt x="6725" y="3927"/>
                    <a:pt x="6713" y="4015"/>
                  </a:cubicBezTo>
                  <a:cubicBezTo>
                    <a:pt x="6709" y="4043"/>
                    <a:pt x="6705" y="4072"/>
                    <a:pt x="6702" y="4100"/>
                  </a:cubicBezTo>
                  <a:cubicBezTo>
                    <a:pt x="6729" y="4111"/>
                    <a:pt x="6752" y="4107"/>
                    <a:pt x="6783" y="4106"/>
                  </a:cubicBezTo>
                  <a:cubicBezTo>
                    <a:pt x="6821" y="4105"/>
                    <a:pt x="6859" y="4104"/>
                    <a:pt x="6897" y="4101"/>
                  </a:cubicBezTo>
                  <a:cubicBezTo>
                    <a:pt x="6939" y="4098"/>
                    <a:pt x="6977" y="4089"/>
                    <a:pt x="7018" y="4078"/>
                  </a:cubicBezTo>
                  <a:cubicBezTo>
                    <a:pt x="7063" y="4066"/>
                    <a:pt x="7089" y="4071"/>
                    <a:pt x="7131" y="4087"/>
                  </a:cubicBezTo>
                  <a:cubicBezTo>
                    <a:pt x="7125" y="4056"/>
                    <a:pt x="7119" y="4024"/>
                    <a:pt x="7113" y="3992"/>
                  </a:cubicBezTo>
                  <a:cubicBezTo>
                    <a:pt x="7086" y="3854"/>
                    <a:pt x="7067" y="3713"/>
                    <a:pt x="7053" y="3573"/>
                  </a:cubicBezTo>
                  <a:cubicBezTo>
                    <a:pt x="7047" y="3514"/>
                    <a:pt x="7042" y="3454"/>
                    <a:pt x="7040" y="3395"/>
                  </a:cubicBezTo>
                  <a:cubicBezTo>
                    <a:pt x="7040" y="3375"/>
                    <a:pt x="7040" y="3368"/>
                    <a:pt x="7038" y="3355"/>
                  </a:cubicBezTo>
                </a:path>
                <a:path w="7282" h="4686" extrusionOk="0">
                  <a:moveTo>
                    <a:pt x="5572" y="1520"/>
                  </a:moveTo>
                  <a:cubicBezTo>
                    <a:pt x="5597" y="1496"/>
                    <a:pt x="5620" y="1476"/>
                    <a:pt x="5650" y="1456"/>
                  </a:cubicBezTo>
                  <a:cubicBezTo>
                    <a:pt x="5683" y="1434"/>
                    <a:pt x="5718" y="1414"/>
                    <a:pt x="5752" y="1394"/>
                  </a:cubicBezTo>
                  <a:cubicBezTo>
                    <a:pt x="5803" y="1364"/>
                    <a:pt x="5854" y="1333"/>
                    <a:pt x="5907" y="1306"/>
                  </a:cubicBezTo>
                  <a:cubicBezTo>
                    <a:pt x="5996" y="1261"/>
                    <a:pt x="6091" y="1227"/>
                    <a:pt x="6187" y="1200"/>
                  </a:cubicBezTo>
                  <a:cubicBezTo>
                    <a:pt x="6367" y="1150"/>
                    <a:pt x="6607" y="1096"/>
                    <a:pt x="6783" y="1188"/>
                  </a:cubicBezTo>
                  <a:cubicBezTo>
                    <a:pt x="6825" y="1210"/>
                    <a:pt x="6860" y="1243"/>
                    <a:pt x="6890" y="1279"/>
                  </a:cubicBezTo>
                  <a:cubicBezTo>
                    <a:pt x="6914" y="1308"/>
                    <a:pt x="6936" y="1338"/>
                    <a:pt x="6962" y="1366"/>
                  </a:cubicBezTo>
                  <a:cubicBezTo>
                    <a:pt x="6987" y="1393"/>
                    <a:pt x="7003" y="1407"/>
                    <a:pt x="7011" y="1441"/>
                  </a:cubicBezTo>
                  <a:cubicBezTo>
                    <a:pt x="7011" y="1446"/>
                    <a:pt x="7010" y="1452"/>
                    <a:pt x="7010" y="1457"/>
                  </a:cubicBezTo>
                </a:path>
                <a:path w="7282" h="4686" extrusionOk="0">
                  <a:moveTo>
                    <a:pt x="5684" y="1903"/>
                  </a:moveTo>
                  <a:cubicBezTo>
                    <a:pt x="5698" y="1875"/>
                    <a:pt x="5705" y="1850"/>
                    <a:pt x="5724" y="1825"/>
                  </a:cubicBezTo>
                  <a:cubicBezTo>
                    <a:pt x="5745" y="1797"/>
                    <a:pt x="5771" y="1782"/>
                    <a:pt x="5802" y="1766"/>
                  </a:cubicBezTo>
                  <a:cubicBezTo>
                    <a:pt x="5869" y="1732"/>
                    <a:pt x="5939" y="1702"/>
                    <a:pt x="6007" y="1670"/>
                  </a:cubicBezTo>
                  <a:cubicBezTo>
                    <a:pt x="6145" y="1605"/>
                    <a:pt x="6301" y="1516"/>
                    <a:pt x="6457" y="1510"/>
                  </a:cubicBezTo>
                  <a:cubicBezTo>
                    <a:pt x="6517" y="1508"/>
                    <a:pt x="6582" y="1533"/>
                    <a:pt x="6625" y="1575"/>
                  </a:cubicBezTo>
                  <a:cubicBezTo>
                    <a:pt x="6686" y="1635"/>
                    <a:pt x="6717" y="1706"/>
                    <a:pt x="6795" y="1748"/>
                  </a:cubicBezTo>
                  <a:cubicBezTo>
                    <a:pt x="6821" y="1762"/>
                    <a:pt x="6850" y="1768"/>
                    <a:pt x="6878" y="1778"/>
                  </a:cubicBezTo>
                  <a:cubicBezTo>
                    <a:pt x="6937" y="1799"/>
                    <a:pt x="6850" y="1753"/>
                    <a:pt x="6843" y="1748"/>
                  </a:cubicBezTo>
                </a:path>
                <a:path w="7282" h="4686" extrusionOk="0">
                  <a:moveTo>
                    <a:pt x="6950" y="1426"/>
                  </a:moveTo>
                  <a:cubicBezTo>
                    <a:pt x="6978" y="1399"/>
                    <a:pt x="6946" y="1453"/>
                    <a:pt x="6948" y="1485"/>
                  </a:cubicBezTo>
                  <a:cubicBezTo>
                    <a:pt x="6951" y="1538"/>
                    <a:pt x="6956" y="1592"/>
                    <a:pt x="6957" y="1645"/>
                  </a:cubicBezTo>
                  <a:cubicBezTo>
                    <a:pt x="6958" y="1705"/>
                    <a:pt x="6952" y="1765"/>
                    <a:pt x="6950" y="1825"/>
                  </a:cubicBezTo>
                  <a:cubicBezTo>
                    <a:pt x="6949" y="1854"/>
                    <a:pt x="6947" y="1856"/>
                    <a:pt x="6960" y="1879"/>
                  </a:cubicBezTo>
                  <a:cubicBezTo>
                    <a:pt x="6962" y="1860"/>
                    <a:pt x="6963" y="1852"/>
                    <a:pt x="6958" y="1839"/>
                  </a:cubicBezTo>
                </a:path>
                <a:path w="7282" h="4686" extrusionOk="0">
                  <a:moveTo>
                    <a:pt x="6968" y="1721"/>
                  </a:moveTo>
                  <a:cubicBezTo>
                    <a:pt x="6995" y="1752"/>
                    <a:pt x="7009" y="1752"/>
                    <a:pt x="7050" y="1743"/>
                  </a:cubicBezTo>
                  <a:cubicBezTo>
                    <a:pt x="7088" y="1734"/>
                    <a:pt x="7122" y="1717"/>
                    <a:pt x="7156" y="1700"/>
                  </a:cubicBezTo>
                  <a:cubicBezTo>
                    <a:pt x="7172" y="1692"/>
                    <a:pt x="7213" y="1664"/>
                    <a:pt x="7233" y="1672"/>
                  </a:cubicBezTo>
                  <a:cubicBezTo>
                    <a:pt x="7251" y="1679"/>
                    <a:pt x="7262" y="1695"/>
                    <a:pt x="7281" y="1702"/>
                  </a:cubicBezTo>
                  <a:cubicBezTo>
                    <a:pt x="7254" y="1729"/>
                    <a:pt x="7225" y="1753"/>
                    <a:pt x="7195" y="1778"/>
                  </a:cubicBezTo>
                  <a:cubicBezTo>
                    <a:pt x="7164" y="1804"/>
                    <a:pt x="7134" y="1831"/>
                    <a:pt x="7103" y="1856"/>
                  </a:cubicBezTo>
                  <a:cubicBezTo>
                    <a:pt x="7087" y="1869"/>
                    <a:pt x="7081" y="1873"/>
                    <a:pt x="7071" y="1883"/>
                  </a:cubicBezTo>
                  <a:cubicBezTo>
                    <a:pt x="7098" y="1896"/>
                    <a:pt x="7125" y="1901"/>
                    <a:pt x="7153" y="1911"/>
                  </a:cubicBezTo>
                  <a:cubicBezTo>
                    <a:pt x="7184" y="1922"/>
                    <a:pt x="7212" y="1937"/>
                    <a:pt x="7205" y="1976"/>
                  </a:cubicBezTo>
                  <a:cubicBezTo>
                    <a:pt x="7198" y="2012"/>
                    <a:pt x="7167" y="2033"/>
                    <a:pt x="7138" y="2051"/>
                  </a:cubicBezTo>
                  <a:cubicBezTo>
                    <a:pt x="7111" y="2068"/>
                    <a:pt x="7085" y="2086"/>
                    <a:pt x="7063" y="2110"/>
                  </a:cubicBezTo>
                  <a:cubicBezTo>
                    <a:pt x="7044" y="2131"/>
                    <a:pt x="7035" y="2152"/>
                    <a:pt x="7030" y="2179"/>
                  </a:cubicBezTo>
                  <a:cubicBezTo>
                    <a:pt x="7000" y="2168"/>
                    <a:pt x="6984" y="2165"/>
                    <a:pt x="6953" y="2177"/>
                  </a:cubicBezTo>
                  <a:cubicBezTo>
                    <a:pt x="6948" y="2179"/>
                    <a:pt x="6943" y="2182"/>
                    <a:pt x="6938" y="2184"/>
                  </a:cubicBezTo>
                  <a:cubicBezTo>
                    <a:pt x="6927" y="2114"/>
                    <a:pt x="6932" y="2042"/>
                    <a:pt x="6922" y="1972"/>
                  </a:cubicBezTo>
                </a:path>
                <a:path w="7282" h="4686" extrusionOk="0">
                  <a:moveTo>
                    <a:pt x="5522" y="1569"/>
                  </a:moveTo>
                  <a:cubicBezTo>
                    <a:pt x="5529" y="1525"/>
                    <a:pt x="5541" y="1492"/>
                    <a:pt x="5564" y="1454"/>
                  </a:cubicBezTo>
                  <a:cubicBezTo>
                    <a:pt x="5569" y="1488"/>
                    <a:pt x="5568" y="1524"/>
                    <a:pt x="5567" y="1559"/>
                  </a:cubicBezTo>
                  <a:cubicBezTo>
                    <a:pt x="5566" y="1621"/>
                    <a:pt x="5565" y="1683"/>
                    <a:pt x="5567" y="1745"/>
                  </a:cubicBezTo>
                  <a:cubicBezTo>
                    <a:pt x="5569" y="1827"/>
                    <a:pt x="5571" y="1910"/>
                    <a:pt x="5572" y="1992"/>
                  </a:cubicBezTo>
                  <a:cubicBezTo>
                    <a:pt x="5573" y="2049"/>
                    <a:pt x="5573" y="2105"/>
                    <a:pt x="5574" y="2162"/>
                  </a:cubicBezTo>
                  <a:cubicBezTo>
                    <a:pt x="5575" y="2219"/>
                    <a:pt x="5591" y="2183"/>
                    <a:pt x="5594" y="2149"/>
                  </a:cubicBezTo>
                  <a:cubicBezTo>
                    <a:pt x="5593" y="2140"/>
                    <a:pt x="5593" y="2131"/>
                    <a:pt x="5592" y="2122"/>
                  </a:cubicBezTo>
                </a:path>
                <a:path w="7282" h="4686" extrusionOk="0">
                  <a:moveTo>
                    <a:pt x="5584" y="1781"/>
                  </a:moveTo>
                  <a:cubicBezTo>
                    <a:pt x="5581" y="1807"/>
                    <a:pt x="5578" y="1803"/>
                    <a:pt x="5607" y="1803"/>
                  </a:cubicBezTo>
                  <a:cubicBezTo>
                    <a:pt x="5579" y="1815"/>
                    <a:pt x="5562" y="1812"/>
                    <a:pt x="5532" y="1813"/>
                  </a:cubicBezTo>
                  <a:cubicBezTo>
                    <a:pt x="5488" y="1815"/>
                    <a:pt x="5444" y="1814"/>
                    <a:pt x="5400" y="1820"/>
                  </a:cubicBezTo>
                  <a:cubicBezTo>
                    <a:pt x="5370" y="1824"/>
                    <a:pt x="5334" y="1827"/>
                    <a:pt x="5305" y="1836"/>
                  </a:cubicBezTo>
                  <a:cubicBezTo>
                    <a:pt x="5298" y="1839"/>
                    <a:pt x="5291" y="1841"/>
                    <a:pt x="5284" y="1844"/>
                  </a:cubicBezTo>
                  <a:cubicBezTo>
                    <a:pt x="5309" y="1866"/>
                    <a:pt x="5335" y="1882"/>
                    <a:pt x="5362" y="1901"/>
                  </a:cubicBezTo>
                  <a:cubicBezTo>
                    <a:pt x="5387" y="1919"/>
                    <a:pt x="5412" y="1941"/>
                    <a:pt x="5435" y="1962"/>
                  </a:cubicBezTo>
                  <a:cubicBezTo>
                    <a:pt x="5458" y="1984"/>
                    <a:pt x="5482" y="2004"/>
                    <a:pt x="5504" y="2027"/>
                  </a:cubicBezTo>
                  <a:cubicBezTo>
                    <a:pt x="5473" y="2035"/>
                    <a:pt x="5443" y="2044"/>
                    <a:pt x="5412" y="2047"/>
                  </a:cubicBezTo>
                  <a:cubicBezTo>
                    <a:pt x="5355" y="2053"/>
                    <a:pt x="5270" y="2043"/>
                    <a:pt x="5224" y="2085"/>
                  </a:cubicBezTo>
                  <a:cubicBezTo>
                    <a:pt x="5209" y="2105"/>
                    <a:pt x="5204" y="2109"/>
                    <a:pt x="5200" y="2125"/>
                  </a:cubicBezTo>
                  <a:cubicBezTo>
                    <a:pt x="5222" y="2150"/>
                    <a:pt x="5239" y="2160"/>
                    <a:pt x="5270" y="2172"/>
                  </a:cubicBezTo>
                  <a:cubicBezTo>
                    <a:pt x="5321" y="2192"/>
                    <a:pt x="5370" y="2216"/>
                    <a:pt x="5422" y="2232"/>
                  </a:cubicBezTo>
                  <a:cubicBezTo>
                    <a:pt x="5444" y="2239"/>
                    <a:pt x="5465" y="2242"/>
                    <a:pt x="5487" y="2237"/>
                  </a:cubicBezTo>
                  <a:cubicBezTo>
                    <a:pt x="5523" y="2229"/>
                    <a:pt x="5536" y="2223"/>
                    <a:pt x="5567" y="2242"/>
                  </a:cubicBezTo>
                  <a:cubicBezTo>
                    <a:pt x="5588" y="2255"/>
                    <a:pt x="5605" y="2267"/>
                    <a:pt x="5627" y="2278"/>
                  </a:cubicBezTo>
                </a:path>
                <a:path w="7282" h="4686" extrusionOk="0">
                  <a:moveTo>
                    <a:pt x="3699" y="1349"/>
                  </a:moveTo>
                  <a:cubicBezTo>
                    <a:pt x="3666" y="1314"/>
                    <a:pt x="3658" y="1342"/>
                    <a:pt x="3638" y="1376"/>
                  </a:cubicBezTo>
                  <a:cubicBezTo>
                    <a:pt x="3612" y="1421"/>
                    <a:pt x="3604" y="1467"/>
                    <a:pt x="3603" y="1519"/>
                  </a:cubicBezTo>
                  <a:cubicBezTo>
                    <a:pt x="3601" y="1583"/>
                    <a:pt x="3615" y="1645"/>
                    <a:pt x="3653" y="1697"/>
                  </a:cubicBezTo>
                  <a:cubicBezTo>
                    <a:pt x="3690" y="1748"/>
                    <a:pt x="3749" y="1770"/>
                    <a:pt x="3811" y="1761"/>
                  </a:cubicBezTo>
                  <a:cubicBezTo>
                    <a:pt x="3882" y="1751"/>
                    <a:pt x="3939" y="1697"/>
                    <a:pt x="3981" y="1643"/>
                  </a:cubicBezTo>
                  <a:cubicBezTo>
                    <a:pt x="4020" y="1593"/>
                    <a:pt x="4052" y="1526"/>
                    <a:pt x="4041" y="1461"/>
                  </a:cubicBezTo>
                  <a:cubicBezTo>
                    <a:pt x="4030" y="1394"/>
                    <a:pt x="3972" y="1362"/>
                    <a:pt x="3913" y="1344"/>
                  </a:cubicBezTo>
                  <a:cubicBezTo>
                    <a:pt x="3853" y="1325"/>
                    <a:pt x="3771" y="1318"/>
                    <a:pt x="3709" y="1334"/>
                  </a:cubicBezTo>
                  <a:cubicBezTo>
                    <a:pt x="3649" y="1349"/>
                    <a:pt x="3726" y="1374"/>
                    <a:pt x="3734" y="1377"/>
                  </a:cubicBezTo>
                </a:path>
                <a:path w="7282" h="4686" extrusionOk="0">
                  <a:moveTo>
                    <a:pt x="3967" y="1810"/>
                  </a:moveTo>
                  <a:cubicBezTo>
                    <a:pt x="3951" y="1849"/>
                    <a:pt x="3947" y="1871"/>
                    <a:pt x="3962" y="1911"/>
                  </a:cubicBezTo>
                  <a:cubicBezTo>
                    <a:pt x="3972" y="1939"/>
                    <a:pt x="3988" y="1964"/>
                    <a:pt x="4016" y="1976"/>
                  </a:cubicBezTo>
                  <a:cubicBezTo>
                    <a:pt x="4044" y="1988"/>
                    <a:pt x="4074" y="1976"/>
                    <a:pt x="4097" y="1959"/>
                  </a:cubicBezTo>
                  <a:cubicBezTo>
                    <a:pt x="4131" y="1933"/>
                    <a:pt x="4147" y="1904"/>
                    <a:pt x="4116" y="1869"/>
                  </a:cubicBezTo>
                  <a:cubicBezTo>
                    <a:pt x="4099" y="1850"/>
                    <a:pt x="4066" y="1830"/>
                    <a:pt x="4044" y="1818"/>
                  </a:cubicBezTo>
                  <a:cubicBezTo>
                    <a:pt x="4018" y="1804"/>
                    <a:pt x="4002" y="1798"/>
                    <a:pt x="3974" y="1800"/>
                  </a:cubicBezTo>
                </a:path>
                <a:path w="7282" h="4686" extrusionOk="0">
                  <a:moveTo>
                    <a:pt x="3674" y="1956"/>
                  </a:moveTo>
                  <a:cubicBezTo>
                    <a:pt x="3642" y="1987"/>
                    <a:pt x="3624" y="2003"/>
                    <a:pt x="3633" y="2051"/>
                  </a:cubicBezTo>
                  <a:cubicBezTo>
                    <a:pt x="3638" y="2076"/>
                    <a:pt x="3653" y="2103"/>
                    <a:pt x="3676" y="2115"/>
                  </a:cubicBezTo>
                  <a:cubicBezTo>
                    <a:pt x="3712" y="2134"/>
                    <a:pt x="3751" y="2114"/>
                    <a:pt x="3783" y="2095"/>
                  </a:cubicBezTo>
                  <a:cubicBezTo>
                    <a:pt x="3828" y="2068"/>
                    <a:pt x="3890" y="2021"/>
                    <a:pt x="3903" y="1966"/>
                  </a:cubicBezTo>
                  <a:cubicBezTo>
                    <a:pt x="3913" y="1924"/>
                    <a:pt x="3885" y="1894"/>
                    <a:pt x="3849" y="1879"/>
                  </a:cubicBezTo>
                  <a:cubicBezTo>
                    <a:pt x="3805" y="1861"/>
                    <a:pt x="3735" y="1854"/>
                    <a:pt x="3689" y="1869"/>
                  </a:cubicBezTo>
                  <a:cubicBezTo>
                    <a:pt x="3600" y="1898"/>
                    <a:pt x="3739" y="1888"/>
                    <a:pt x="3749" y="1886"/>
                  </a:cubicBezTo>
                </a:path>
                <a:path w="7282" h="4686" extrusionOk="0">
                  <a:moveTo>
                    <a:pt x="4955" y="2910"/>
                  </a:moveTo>
                  <a:cubicBezTo>
                    <a:pt x="4984" y="2903"/>
                    <a:pt x="4979" y="2908"/>
                    <a:pt x="5009" y="2910"/>
                  </a:cubicBezTo>
                  <a:cubicBezTo>
                    <a:pt x="5051" y="2914"/>
                    <a:pt x="5092" y="2924"/>
                    <a:pt x="5134" y="2928"/>
                  </a:cubicBezTo>
                  <a:cubicBezTo>
                    <a:pt x="5184" y="2933"/>
                    <a:pt x="5232" y="2938"/>
                    <a:pt x="5282" y="2938"/>
                  </a:cubicBezTo>
                  <a:cubicBezTo>
                    <a:pt x="5317" y="2938"/>
                    <a:pt x="5350" y="2936"/>
                    <a:pt x="5384" y="2931"/>
                  </a:cubicBezTo>
                  <a:cubicBezTo>
                    <a:pt x="5399" y="2930"/>
                    <a:pt x="5405" y="2930"/>
                    <a:pt x="5414" y="2925"/>
                  </a:cubicBezTo>
                  <a:cubicBezTo>
                    <a:pt x="5392" y="2896"/>
                    <a:pt x="5382" y="2891"/>
                    <a:pt x="5374" y="2853"/>
                  </a:cubicBezTo>
                  <a:cubicBezTo>
                    <a:pt x="5357" y="2773"/>
                    <a:pt x="5363" y="2685"/>
                    <a:pt x="5367" y="2604"/>
                  </a:cubicBezTo>
                  <a:cubicBezTo>
                    <a:pt x="5367" y="2586"/>
                    <a:pt x="5367" y="2581"/>
                    <a:pt x="5369" y="2569"/>
                  </a:cubicBezTo>
                  <a:cubicBezTo>
                    <a:pt x="5383" y="2600"/>
                    <a:pt x="5396" y="2627"/>
                    <a:pt x="5415" y="2656"/>
                  </a:cubicBezTo>
                  <a:cubicBezTo>
                    <a:pt x="5458" y="2722"/>
                    <a:pt x="5508" y="2783"/>
                    <a:pt x="5549" y="2850"/>
                  </a:cubicBezTo>
                  <a:cubicBezTo>
                    <a:pt x="5574" y="2891"/>
                    <a:pt x="5593" y="2934"/>
                    <a:pt x="5615" y="2976"/>
                  </a:cubicBezTo>
                  <a:cubicBezTo>
                    <a:pt x="5631" y="3007"/>
                    <a:pt x="5651" y="3044"/>
                    <a:pt x="5679" y="3066"/>
                  </a:cubicBezTo>
                  <a:cubicBezTo>
                    <a:pt x="5705" y="3086"/>
                    <a:pt x="5731" y="3101"/>
                    <a:pt x="5764" y="3104"/>
                  </a:cubicBezTo>
                  <a:cubicBezTo>
                    <a:pt x="5810" y="3108"/>
                    <a:pt x="5805" y="3083"/>
                    <a:pt x="5822" y="3064"/>
                  </a:cubicBezTo>
                  <a:cubicBezTo>
                    <a:pt x="5773" y="3059"/>
                    <a:pt x="5752" y="3060"/>
                    <a:pt x="5704" y="3086"/>
                  </a:cubicBezTo>
                  <a:cubicBezTo>
                    <a:pt x="5592" y="3145"/>
                    <a:pt x="5500" y="3234"/>
                    <a:pt x="5404" y="3315"/>
                  </a:cubicBezTo>
                  <a:cubicBezTo>
                    <a:pt x="5385" y="3331"/>
                    <a:pt x="5340" y="3360"/>
                    <a:pt x="5340" y="3388"/>
                  </a:cubicBezTo>
                  <a:cubicBezTo>
                    <a:pt x="5337" y="3405"/>
                    <a:pt x="5336" y="3411"/>
                    <a:pt x="5352" y="3413"/>
                  </a:cubicBezTo>
                  <a:cubicBezTo>
                    <a:pt x="5363" y="3385"/>
                    <a:pt x="5382" y="3356"/>
                    <a:pt x="5389" y="3327"/>
                  </a:cubicBezTo>
                  <a:cubicBezTo>
                    <a:pt x="5395" y="3305"/>
                    <a:pt x="5402" y="3270"/>
                    <a:pt x="5400" y="3247"/>
                  </a:cubicBezTo>
                  <a:cubicBezTo>
                    <a:pt x="5396" y="3202"/>
                    <a:pt x="5395" y="3218"/>
                    <a:pt x="5415" y="3182"/>
                  </a:cubicBezTo>
                  <a:cubicBezTo>
                    <a:pt x="5391" y="3182"/>
                    <a:pt x="5363" y="3180"/>
                    <a:pt x="5337" y="3182"/>
                  </a:cubicBezTo>
                  <a:cubicBezTo>
                    <a:pt x="5300" y="3184"/>
                    <a:pt x="5274" y="3195"/>
                    <a:pt x="5240" y="3209"/>
                  </a:cubicBezTo>
                  <a:cubicBezTo>
                    <a:pt x="5210" y="3222"/>
                    <a:pt x="5185" y="3242"/>
                    <a:pt x="5157" y="3256"/>
                  </a:cubicBezTo>
                  <a:cubicBezTo>
                    <a:pt x="5150" y="3259"/>
                    <a:pt x="5142" y="3261"/>
                    <a:pt x="5135" y="3264"/>
                  </a:cubicBezTo>
                  <a:cubicBezTo>
                    <a:pt x="5153" y="3249"/>
                    <a:pt x="5164" y="3234"/>
                    <a:pt x="5199" y="3221"/>
                  </a:cubicBezTo>
                </a:path>
                <a:path w="7282" h="4686" extrusionOk="0">
                  <a:moveTo>
                    <a:pt x="1502" y="3448"/>
                  </a:moveTo>
                  <a:cubicBezTo>
                    <a:pt x="1536" y="3442"/>
                    <a:pt x="1510" y="3427"/>
                    <a:pt x="1573" y="3465"/>
                  </a:cubicBezTo>
                  <a:cubicBezTo>
                    <a:pt x="1725" y="3555"/>
                    <a:pt x="1868" y="3669"/>
                    <a:pt x="1983" y="3804"/>
                  </a:cubicBezTo>
                  <a:cubicBezTo>
                    <a:pt x="2049" y="3881"/>
                    <a:pt x="2094" y="3972"/>
                    <a:pt x="2116" y="4070"/>
                  </a:cubicBezTo>
                  <a:cubicBezTo>
                    <a:pt x="2134" y="4148"/>
                    <a:pt x="2125" y="4217"/>
                    <a:pt x="2116" y="4294"/>
                  </a:cubicBezTo>
                  <a:cubicBezTo>
                    <a:pt x="2105" y="4384"/>
                    <a:pt x="2088" y="4330"/>
                    <a:pt x="2080" y="4276"/>
                  </a:cubicBezTo>
                </a:path>
                <a:path w="7282" h="4686" extrusionOk="0">
                  <a:moveTo>
                    <a:pt x="1966" y="3212"/>
                  </a:moveTo>
                  <a:cubicBezTo>
                    <a:pt x="1955" y="3196"/>
                    <a:pt x="1951" y="3190"/>
                    <a:pt x="1936" y="3189"/>
                  </a:cubicBezTo>
                  <a:cubicBezTo>
                    <a:pt x="1964" y="3213"/>
                    <a:pt x="1973" y="3215"/>
                    <a:pt x="2006" y="3232"/>
                  </a:cubicBezTo>
                  <a:cubicBezTo>
                    <a:pt x="2113" y="3288"/>
                    <a:pt x="2208" y="3366"/>
                    <a:pt x="2300" y="3445"/>
                  </a:cubicBezTo>
                  <a:cubicBezTo>
                    <a:pt x="2387" y="3520"/>
                    <a:pt x="2478" y="3610"/>
                    <a:pt x="2531" y="3713"/>
                  </a:cubicBezTo>
                  <a:cubicBezTo>
                    <a:pt x="2554" y="3757"/>
                    <a:pt x="2571" y="3820"/>
                    <a:pt x="2553" y="3869"/>
                  </a:cubicBezTo>
                  <a:cubicBezTo>
                    <a:pt x="2540" y="3904"/>
                    <a:pt x="2520" y="3897"/>
                    <a:pt x="2490" y="3897"/>
                  </a:cubicBezTo>
                </a:path>
                <a:path w="7282" h="4686" extrusionOk="0">
                  <a:moveTo>
                    <a:pt x="2160" y="2742"/>
                  </a:moveTo>
                  <a:cubicBezTo>
                    <a:pt x="2140" y="2736"/>
                    <a:pt x="2127" y="2735"/>
                    <a:pt x="2108" y="2732"/>
                  </a:cubicBezTo>
                  <a:cubicBezTo>
                    <a:pt x="2156" y="2746"/>
                    <a:pt x="2203" y="2761"/>
                    <a:pt x="2251" y="2774"/>
                  </a:cubicBezTo>
                  <a:cubicBezTo>
                    <a:pt x="2396" y="2814"/>
                    <a:pt x="2570" y="2849"/>
                    <a:pt x="2690" y="2945"/>
                  </a:cubicBezTo>
                  <a:cubicBezTo>
                    <a:pt x="2777" y="3015"/>
                    <a:pt x="2800" y="3113"/>
                    <a:pt x="2793" y="3221"/>
                  </a:cubicBezTo>
                  <a:cubicBezTo>
                    <a:pt x="2786" y="3329"/>
                    <a:pt x="2747" y="3429"/>
                    <a:pt x="2713" y="3530"/>
                  </a:cubicBezTo>
                </a:path>
                <a:path w="7282" h="4686" extrusionOk="0">
                  <a:moveTo>
                    <a:pt x="437" y="2024"/>
                  </a:moveTo>
                  <a:cubicBezTo>
                    <a:pt x="407" y="2021"/>
                    <a:pt x="397" y="1997"/>
                    <a:pt x="362" y="2036"/>
                  </a:cubicBezTo>
                  <a:cubicBezTo>
                    <a:pt x="322" y="2081"/>
                    <a:pt x="303" y="2150"/>
                    <a:pt x="294" y="2208"/>
                  </a:cubicBezTo>
                  <a:cubicBezTo>
                    <a:pt x="279" y="2305"/>
                    <a:pt x="283" y="2408"/>
                    <a:pt x="305" y="2504"/>
                  </a:cubicBezTo>
                  <a:cubicBezTo>
                    <a:pt x="329" y="2610"/>
                    <a:pt x="377" y="2718"/>
                    <a:pt x="450" y="2800"/>
                  </a:cubicBezTo>
                  <a:cubicBezTo>
                    <a:pt x="514" y="2872"/>
                    <a:pt x="595" y="2918"/>
                    <a:pt x="687" y="2941"/>
                  </a:cubicBezTo>
                  <a:cubicBezTo>
                    <a:pt x="746" y="2956"/>
                    <a:pt x="812" y="2960"/>
                    <a:pt x="872" y="2950"/>
                  </a:cubicBezTo>
                  <a:cubicBezTo>
                    <a:pt x="908" y="2944"/>
                    <a:pt x="929" y="2940"/>
                    <a:pt x="915" y="2898"/>
                  </a:cubicBezTo>
                  <a:cubicBezTo>
                    <a:pt x="906" y="2877"/>
                    <a:pt x="901" y="2868"/>
                    <a:pt x="892" y="2855"/>
                  </a:cubicBezTo>
                </a:path>
                <a:path w="7282" h="4686" extrusionOk="0">
                  <a:moveTo>
                    <a:pt x="509" y="1992"/>
                  </a:moveTo>
                  <a:cubicBezTo>
                    <a:pt x="478" y="2007"/>
                    <a:pt x="442" y="2018"/>
                    <a:pt x="415" y="2046"/>
                  </a:cubicBezTo>
                  <a:cubicBezTo>
                    <a:pt x="371" y="2091"/>
                    <a:pt x="326" y="2142"/>
                    <a:pt x="292" y="2197"/>
                  </a:cubicBezTo>
                  <a:cubicBezTo>
                    <a:pt x="240" y="2282"/>
                    <a:pt x="201" y="2374"/>
                    <a:pt x="179" y="2471"/>
                  </a:cubicBezTo>
                  <a:cubicBezTo>
                    <a:pt x="140" y="2646"/>
                    <a:pt x="142" y="2859"/>
                    <a:pt x="234" y="3018"/>
                  </a:cubicBezTo>
                  <a:cubicBezTo>
                    <a:pt x="296" y="3125"/>
                    <a:pt x="415" y="3188"/>
                    <a:pt x="537" y="3189"/>
                  </a:cubicBezTo>
                  <a:cubicBezTo>
                    <a:pt x="618" y="3189"/>
                    <a:pt x="696" y="3162"/>
                    <a:pt x="770" y="3131"/>
                  </a:cubicBezTo>
                  <a:cubicBezTo>
                    <a:pt x="804" y="3117"/>
                    <a:pt x="850" y="3072"/>
                    <a:pt x="880" y="3063"/>
                  </a:cubicBezTo>
                  <a:cubicBezTo>
                    <a:pt x="896" y="3063"/>
                    <a:pt x="902" y="3063"/>
                    <a:pt x="913" y="3066"/>
                  </a:cubicBezTo>
                </a:path>
                <a:path w="7282" h="4686" extrusionOk="0">
                  <a:moveTo>
                    <a:pt x="962" y="2916"/>
                  </a:moveTo>
                  <a:cubicBezTo>
                    <a:pt x="922" y="2933"/>
                    <a:pt x="890" y="2960"/>
                    <a:pt x="868" y="3000"/>
                  </a:cubicBezTo>
                  <a:cubicBezTo>
                    <a:pt x="841" y="3050"/>
                    <a:pt x="816" y="3114"/>
                    <a:pt x="822" y="3172"/>
                  </a:cubicBezTo>
                  <a:cubicBezTo>
                    <a:pt x="834" y="3280"/>
                    <a:pt x="933" y="3318"/>
                    <a:pt x="1025" y="3345"/>
                  </a:cubicBezTo>
                  <a:cubicBezTo>
                    <a:pt x="1137" y="3378"/>
                    <a:pt x="1256" y="3389"/>
                    <a:pt x="1372" y="3398"/>
                  </a:cubicBezTo>
                  <a:cubicBezTo>
                    <a:pt x="1473" y="3406"/>
                    <a:pt x="1581" y="3412"/>
                    <a:pt x="1678" y="3378"/>
                  </a:cubicBezTo>
                  <a:cubicBezTo>
                    <a:pt x="1781" y="3342"/>
                    <a:pt x="1838" y="3243"/>
                    <a:pt x="1860" y="3141"/>
                  </a:cubicBezTo>
                  <a:cubicBezTo>
                    <a:pt x="1873" y="3082"/>
                    <a:pt x="1871" y="3007"/>
                    <a:pt x="1837" y="2955"/>
                  </a:cubicBezTo>
                  <a:cubicBezTo>
                    <a:pt x="1816" y="2922"/>
                    <a:pt x="1806" y="2937"/>
                    <a:pt x="1780" y="2931"/>
                  </a:cubicBezTo>
                  <a:cubicBezTo>
                    <a:pt x="1798" y="2952"/>
                    <a:pt x="1815" y="2975"/>
                    <a:pt x="1837" y="2996"/>
                  </a:cubicBezTo>
                </a:path>
                <a:path w="7282" h="4686" extrusionOk="0">
                  <a:moveTo>
                    <a:pt x="990" y="2971"/>
                  </a:moveTo>
                  <a:cubicBezTo>
                    <a:pt x="970" y="2999"/>
                    <a:pt x="950" y="3024"/>
                    <a:pt x="942" y="3059"/>
                  </a:cubicBezTo>
                  <a:cubicBezTo>
                    <a:pt x="931" y="3109"/>
                    <a:pt x="924" y="3176"/>
                    <a:pt x="938" y="3226"/>
                  </a:cubicBezTo>
                  <a:cubicBezTo>
                    <a:pt x="959" y="3301"/>
                    <a:pt x="1018" y="3350"/>
                    <a:pt x="1090" y="3375"/>
                  </a:cubicBezTo>
                  <a:cubicBezTo>
                    <a:pt x="1198" y="3413"/>
                    <a:pt x="1325" y="3403"/>
                    <a:pt x="1435" y="3378"/>
                  </a:cubicBezTo>
                  <a:cubicBezTo>
                    <a:pt x="1558" y="3350"/>
                    <a:pt x="1674" y="3290"/>
                    <a:pt x="1773" y="3212"/>
                  </a:cubicBezTo>
                  <a:cubicBezTo>
                    <a:pt x="1839" y="3160"/>
                    <a:pt x="1898" y="3094"/>
                    <a:pt x="1905" y="3006"/>
                  </a:cubicBezTo>
                  <a:cubicBezTo>
                    <a:pt x="1909" y="2955"/>
                    <a:pt x="1881" y="2907"/>
                    <a:pt x="1845" y="2873"/>
                  </a:cubicBezTo>
                  <a:cubicBezTo>
                    <a:pt x="1837" y="2866"/>
                    <a:pt x="1750" y="2814"/>
                    <a:pt x="1810" y="2863"/>
                  </a:cubicBezTo>
                  <a:cubicBezTo>
                    <a:pt x="1817" y="2867"/>
                    <a:pt x="1823" y="2871"/>
                    <a:pt x="1830" y="2875"/>
                  </a:cubicBezTo>
                </a:path>
                <a:path w="7282" h="4686" extrusionOk="0">
                  <a:moveTo>
                    <a:pt x="2000" y="3049"/>
                  </a:moveTo>
                  <a:cubicBezTo>
                    <a:pt x="1989" y="3074"/>
                    <a:pt x="1959" y="3124"/>
                    <a:pt x="1998" y="3144"/>
                  </a:cubicBezTo>
                  <a:cubicBezTo>
                    <a:pt x="2045" y="3168"/>
                    <a:pt x="2133" y="3128"/>
                    <a:pt x="2173" y="3106"/>
                  </a:cubicBezTo>
                  <a:cubicBezTo>
                    <a:pt x="2249" y="3064"/>
                    <a:pt x="2323" y="3002"/>
                    <a:pt x="2373" y="2931"/>
                  </a:cubicBezTo>
                  <a:cubicBezTo>
                    <a:pt x="2403" y="2888"/>
                    <a:pt x="2436" y="2819"/>
                    <a:pt x="2395" y="2772"/>
                  </a:cubicBezTo>
                  <a:cubicBezTo>
                    <a:pt x="2353" y="2723"/>
                    <a:pt x="2261" y="2712"/>
                    <a:pt x="2203" y="2702"/>
                  </a:cubicBezTo>
                  <a:cubicBezTo>
                    <a:pt x="2143" y="2691"/>
                    <a:pt x="1977" y="2728"/>
                    <a:pt x="2020" y="2685"/>
                  </a:cubicBezTo>
                  <a:cubicBezTo>
                    <a:pt x="2038" y="2667"/>
                    <a:pt x="2109" y="2683"/>
                    <a:pt x="2131" y="2684"/>
                  </a:cubicBezTo>
                </a:path>
                <a:path w="7282" h="4686" extrusionOk="0">
                  <a:moveTo>
                    <a:pt x="1948" y="3182"/>
                  </a:moveTo>
                  <a:cubicBezTo>
                    <a:pt x="1975" y="3171"/>
                    <a:pt x="2002" y="3158"/>
                    <a:pt x="2030" y="3151"/>
                  </a:cubicBezTo>
                  <a:cubicBezTo>
                    <a:pt x="2074" y="3140"/>
                    <a:pt x="2119" y="3139"/>
                    <a:pt x="2163" y="3133"/>
                  </a:cubicBezTo>
                  <a:cubicBezTo>
                    <a:pt x="2221" y="3125"/>
                    <a:pt x="2252" y="3101"/>
                    <a:pt x="2295" y="3064"/>
                  </a:cubicBezTo>
                  <a:cubicBezTo>
                    <a:pt x="2331" y="3033"/>
                    <a:pt x="2357" y="2987"/>
                    <a:pt x="2351" y="2936"/>
                  </a:cubicBezTo>
                  <a:cubicBezTo>
                    <a:pt x="2344" y="2880"/>
                    <a:pt x="2288" y="2852"/>
                    <a:pt x="2241" y="2835"/>
                  </a:cubicBezTo>
                  <a:cubicBezTo>
                    <a:pt x="2181" y="2814"/>
                    <a:pt x="2119" y="2809"/>
                    <a:pt x="2056" y="2808"/>
                  </a:cubicBezTo>
                  <a:cubicBezTo>
                    <a:pt x="2009" y="2807"/>
                    <a:pt x="2021" y="2820"/>
                    <a:pt x="2046" y="2832"/>
                  </a:cubicBezTo>
                </a:path>
                <a:path w="7282" h="4686" extrusionOk="0">
                  <a:moveTo>
                    <a:pt x="1930" y="2685"/>
                  </a:moveTo>
                  <a:cubicBezTo>
                    <a:pt x="1980" y="2696"/>
                    <a:pt x="2015" y="2692"/>
                    <a:pt x="2066" y="2680"/>
                  </a:cubicBezTo>
                  <a:cubicBezTo>
                    <a:pt x="2145" y="2661"/>
                    <a:pt x="2220" y="2633"/>
                    <a:pt x="2283" y="2581"/>
                  </a:cubicBezTo>
                  <a:cubicBezTo>
                    <a:pt x="2360" y="2518"/>
                    <a:pt x="2432" y="2434"/>
                    <a:pt x="2476" y="2345"/>
                  </a:cubicBezTo>
                  <a:cubicBezTo>
                    <a:pt x="2522" y="2252"/>
                    <a:pt x="2551" y="2141"/>
                    <a:pt x="2553" y="2037"/>
                  </a:cubicBezTo>
                  <a:cubicBezTo>
                    <a:pt x="2555" y="1903"/>
                    <a:pt x="2509" y="1755"/>
                    <a:pt x="2410" y="1662"/>
                  </a:cubicBezTo>
                  <a:cubicBezTo>
                    <a:pt x="2355" y="1610"/>
                    <a:pt x="2290" y="1606"/>
                    <a:pt x="2225" y="1642"/>
                  </a:cubicBezTo>
                  <a:cubicBezTo>
                    <a:pt x="2194" y="1660"/>
                    <a:pt x="2147" y="1695"/>
                    <a:pt x="2145" y="1735"/>
                  </a:cubicBezTo>
                  <a:cubicBezTo>
                    <a:pt x="2151" y="1752"/>
                    <a:pt x="2154" y="1758"/>
                    <a:pt x="2160" y="1768"/>
                  </a:cubicBezTo>
                  <a:cubicBezTo>
                    <a:pt x="2200" y="1779"/>
                    <a:pt x="2233" y="1784"/>
                    <a:pt x="2275" y="1783"/>
                  </a:cubicBezTo>
                  <a:cubicBezTo>
                    <a:pt x="2349" y="1782"/>
                    <a:pt x="2438" y="1768"/>
                    <a:pt x="2508" y="1800"/>
                  </a:cubicBezTo>
                  <a:cubicBezTo>
                    <a:pt x="2575" y="1830"/>
                    <a:pt x="2571" y="1902"/>
                    <a:pt x="2558" y="1964"/>
                  </a:cubicBezTo>
                  <a:cubicBezTo>
                    <a:pt x="2532" y="2086"/>
                    <a:pt x="2467" y="2201"/>
                    <a:pt x="2410" y="2311"/>
                  </a:cubicBezTo>
                  <a:cubicBezTo>
                    <a:pt x="2350" y="2427"/>
                    <a:pt x="2287" y="2541"/>
                    <a:pt x="2216" y="2651"/>
                  </a:cubicBezTo>
                  <a:cubicBezTo>
                    <a:pt x="2192" y="2688"/>
                    <a:pt x="2151" y="2769"/>
                    <a:pt x="2098" y="2774"/>
                  </a:cubicBezTo>
                  <a:cubicBezTo>
                    <a:pt x="2066" y="2777"/>
                    <a:pt x="2030" y="2739"/>
                    <a:pt x="2016" y="2714"/>
                  </a:cubicBezTo>
                  <a:cubicBezTo>
                    <a:pt x="1998" y="2681"/>
                    <a:pt x="1992" y="2666"/>
                    <a:pt x="2005" y="2631"/>
                  </a:cubicBezTo>
                  <a:cubicBezTo>
                    <a:pt x="2020" y="2590"/>
                    <a:pt x="2096" y="2579"/>
                    <a:pt x="2128" y="2561"/>
                  </a:cubicBezTo>
                  <a:cubicBezTo>
                    <a:pt x="2184" y="2530"/>
                    <a:pt x="2246" y="2493"/>
                    <a:pt x="2293" y="2449"/>
                  </a:cubicBezTo>
                  <a:cubicBezTo>
                    <a:pt x="2303" y="2438"/>
                    <a:pt x="2313" y="2426"/>
                    <a:pt x="2323" y="2415"/>
                  </a:cubicBezTo>
                </a:path>
                <a:path w="7282" h="4686" extrusionOk="0">
                  <a:moveTo>
                    <a:pt x="1973" y="1343"/>
                  </a:moveTo>
                  <a:cubicBezTo>
                    <a:pt x="2014" y="1382"/>
                    <a:pt x="2059" y="1405"/>
                    <a:pt x="2106" y="1436"/>
                  </a:cubicBezTo>
                  <a:cubicBezTo>
                    <a:pt x="2169" y="1478"/>
                    <a:pt x="2234" y="1525"/>
                    <a:pt x="2273" y="1592"/>
                  </a:cubicBezTo>
                  <a:cubicBezTo>
                    <a:pt x="2311" y="1657"/>
                    <a:pt x="2295" y="1725"/>
                    <a:pt x="2255" y="1785"/>
                  </a:cubicBezTo>
                  <a:cubicBezTo>
                    <a:pt x="2211" y="1851"/>
                    <a:pt x="2151" y="1902"/>
                    <a:pt x="2078" y="1933"/>
                  </a:cubicBezTo>
                  <a:cubicBezTo>
                    <a:pt x="2030" y="1948"/>
                    <a:pt x="2018" y="1952"/>
                    <a:pt x="1986" y="1956"/>
                  </a:cubicBezTo>
                </a:path>
                <a:path w="7282" h="4686" extrusionOk="0">
                  <a:moveTo>
                    <a:pt x="532" y="1909"/>
                  </a:moveTo>
                  <a:cubicBezTo>
                    <a:pt x="501" y="1909"/>
                    <a:pt x="481" y="1901"/>
                    <a:pt x="449" y="1921"/>
                  </a:cubicBezTo>
                  <a:cubicBezTo>
                    <a:pt x="406" y="1948"/>
                    <a:pt x="371" y="2024"/>
                    <a:pt x="354" y="2069"/>
                  </a:cubicBezTo>
                  <a:cubicBezTo>
                    <a:pt x="273" y="2279"/>
                    <a:pt x="250" y="2542"/>
                    <a:pt x="290" y="2762"/>
                  </a:cubicBezTo>
                  <a:cubicBezTo>
                    <a:pt x="310" y="2873"/>
                    <a:pt x="354" y="2994"/>
                    <a:pt x="465" y="3043"/>
                  </a:cubicBezTo>
                  <a:cubicBezTo>
                    <a:pt x="618" y="3111"/>
                    <a:pt x="843" y="3031"/>
                    <a:pt x="967" y="2935"/>
                  </a:cubicBezTo>
                  <a:cubicBezTo>
                    <a:pt x="1007" y="2904"/>
                    <a:pt x="1050" y="2867"/>
                    <a:pt x="1065" y="2817"/>
                  </a:cubicBezTo>
                  <a:cubicBezTo>
                    <a:pt x="1067" y="2797"/>
                    <a:pt x="1068" y="2790"/>
                    <a:pt x="1065" y="2777"/>
                  </a:cubicBezTo>
                </a:path>
                <a:path w="7282" h="4686" extrusionOk="0">
                  <a:moveTo>
                    <a:pt x="12" y="30"/>
                  </a:moveTo>
                  <a:cubicBezTo>
                    <a:pt x="-8" y="-7"/>
                    <a:pt x="10" y="0"/>
                    <a:pt x="40" y="15"/>
                  </a:cubicBezTo>
                </a:path>
                <a:path w="7282" h="4686" extrusionOk="0">
                  <a:moveTo>
                    <a:pt x="119" y="517"/>
                  </a:moveTo>
                  <a:cubicBezTo>
                    <a:pt x="112" y="514"/>
                    <a:pt x="104" y="510"/>
                    <a:pt x="97" y="507"/>
                  </a:cubicBezTo>
                  <a:cubicBezTo>
                    <a:pt x="99" y="546"/>
                    <a:pt x="120" y="534"/>
                    <a:pt x="157" y="523"/>
                  </a:cubicBezTo>
                </a:path>
                <a:path w="7282" h="4686" extrusionOk="0">
                  <a:moveTo>
                    <a:pt x="1890" y="387"/>
                  </a:moveTo>
                  <a:cubicBezTo>
                    <a:pt x="1887" y="380"/>
                    <a:pt x="1883" y="374"/>
                    <a:pt x="1880" y="367"/>
                  </a:cubicBezTo>
                  <a:cubicBezTo>
                    <a:pt x="1913" y="355"/>
                    <a:pt x="1914" y="368"/>
                    <a:pt x="1926" y="400"/>
                  </a:cubicBezTo>
                </a:path>
                <a:path w="7282" h="4686" extrusionOk="0">
                  <a:moveTo>
                    <a:pt x="2210" y="440"/>
                  </a:moveTo>
                  <a:cubicBezTo>
                    <a:pt x="2237" y="455"/>
                    <a:pt x="2257" y="460"/>
                    <a:pt x="2286" y="462"/>
                  </a:cubicBezTo>
                  <a:cubicBezTo>
                    <a:pt x="2330" y="465"/>
                    <a:pt x="2374" y="459"/>
                    <a:pt x="2418" y="460"/>
                  </a:cubicBezTo>
                  <a:cubicBezTo>
                    <a:pt x="2485" y="461"/>
                    <a:pt x="2556" y="466"/>
                    <a:pt x="2616" y="498"/>
                  </a:cubicBezTo>
                  <a:cubicBezTo>
                    <a:pt x="2655" y="519"/>
                    <a:pt x="2692" y="552"/>
                    <a:pt x="2725" y="581"/>
                  </a:cubicBezTo>
                  <a:cubicBezTo>
                    <a:pt x="2742" y="597"/>
                    <a:pt x="2746" y="601"/>
                    <a:pt x="2758" y="610"/>
                  </a:cubicBezTo>
                </a:path>
                <a:path w="7282" h="4686" extrusionOk="0">
                  <a:moveTo>
                    <a:pt x="2091" y="857"/>
                  </a:moveTo>
                  <a:cubicBezTo>
                    <a:pt x="2073" y="856"/>
                    <a:pt x="2070" y="855"/>
                    <a:pt x="2095" y="851"/>
                  </a:cubicBezTo>
                </a:path>
                <a:path w="7282" h="4686" extrusionOk="0">
                  <a:moveTo>
                    <a:pt x="2163" y="806"/>
                  </a:moveTo>
                  <a:cubicBezTo>
                    <a:pt x="2192" y="793"/>
                    <a:pt x="2215" y="785"/>
                    <a:pt x="2246" y="787"/>
                  </a:cubicBezTo>
                  <a:cubicBezTo>
                    <a:pt x="2286" y="789"/>
                    <a:pt x="2326" y="789"/>
                    <a:pt x="2366" y="794"/>
                  </a:cubicBezTo>
                  <a:cubicBezTo>
                    <a:pt x="2417" y="800"/>
                    <a:pt x="2466" y="809"/>
                    <a:pt x="2516" y="821"/>
                  </a:cubicBezTo>
                  <a:cubicBezTo>
                    <a:pt x="2570" y="834"/>
                    <a:pt x="2625" y="846"/>
                    <a:pt x="2678" y="862"/>
                  </a:cubicBezTo>
                  <a:cubicBezTo>
                    <a:pt x="2714" y="873"/>
                    <a:pt x="2748" y="887"/>
                    <a:pt x="2780" y="905"/>
                  </a:cubicBezTo>
                  <a:cubicBezTo>
                    <a:pt x="2750" y="923"/>
                    <a:pt x="2750" y="921"/>
                    <a:pt x="2716" y="907"/>
                  </a:cubicBezTo>
                </a:path>
                <a:path w="7282" h="4686" extrusionOk="0">
                  <a:moveTo>
                    <a:pt x="1862" y="822"/>
                  </a:moveTo>
                  <a:cubicBezTo>
                    <a:pt x="1847" y="789"/>
                    <a:pt x="1854" y="786"/>
                    <a:pt x="1891" y="782"/>
                  </a:cubicBezTo>
                  <a:cubicBezTo>
                    <a:pt x="1922" y="779"/>
                    <a:pt x="1929" y="779"/>
                    <a:pt x="1948" y="776"/>
                  </a:cubicBezTo>
                </a:path>
                <a:path w="7282" h="4686" extrusionOk="0">
                  <a:moveTo>
                    <a:pt x="3719" y="997"/>
                  </a:moveTo>
                  <a:cubicBezTo>
                    <a:pt x="3669" y="955"/>
                    <a:pt x="3657" y="933"/>
                    <a:pt x="3588" y="939"/>
                  </a:cubicBezTo>
                  <a:cubicBezTo>
                    <a:pt x="3523" y="945"/>
                    <a:pt x="3470" y="1029"/>
                    <a:pt x="3443" y="1078"/>
                  </a:cubicBezTo>
                  <a:cubicBezTo>
                    <a:pt x="3383" y="1188"/>
                    <a:pt x="3359" y="1319"/>
                    <a:pt x="3343" y="1442"/>
                  </a:cubicBezTo>
                  <a:cubicBezTo>
                    <a:pt x="3318" y="1640"/>
                    <a:pt x="3306" y="1914"/>
                    <a:pt x="3458" y="2070"/>
                  </a:cubicBezTo>
                  <a:cubicBezTo>
                    <a:pt x="3590" y="2205"/>
                    <a:pt x="3819" y="2203"/>
                    <a:pt x="3989" y="2170"/>
                  </a:cubicBezTo>
                  <a:cubicBezTo>
                    <a:pt x="4140" y="2140"/>
                    <a:pt x="4294" y="2074"/>
                    <a:pt x="4406" y="1967"/>
                  </a:cubicBezTo>
                  <a:cubicBezTo>
                    <a:pt x="4492" y="1885"/>
                    <a:pt x="4548" y="1762"/>
                    <a:pt x="4534" y="1642"/>
                  </a:cubicBezTo>
                  <a:cubicBezTo>
                    <a:pt x="4518" y="1502"/>
                    <a:pt x="4414" y="1408"/>
                    <a:pt x="4299" y="1341"/>
                  </a:cubicBezTo>
                  <a:cubicBezTo>
                    <a:pt x="4174" y="1268"/>
                    <a:pt x="4029" y="1230"/>
                    <a:pt x="3886" y="1215"/>
                  </a:cubicBezTo>
                  <a:cubicBezTo>
                    <a:pt x="3846" y="1211"/>
                    <a:pt x="3723" y="1199"/>
                    <a:pt x="3789" y="1261"/>
                  </a:cubicBezTo>
                  <a:cubicBezTo>
                    <a:pt x="3805" y="1269"/>
                    <a:pt x="3822" y="1276"/>
                    <a:pt x="3838" y="1284"/>
                  </a:cubicBezTo>
                </a:path>
                <a:path w="7282" h="4686" extrusionOk="0">
                  <a:moveTo>
                    <a:pt x="3808" y="4299"/>
                  </a:moveTo>
                  <a:cubicBezTo>
                    <a:pt x="3834" y="4286"/>
                    <a:pt x="3835" y="4319"/>
                    <a:pt x="3839" y="4354"/>
                  </a:cubicBezTo>
                  <a:cubicBezTo>
                    <a:pt x="3844" y="4399"/>
                    <a:pt x="3842" y="4447"/>
                    <a:pt x="3849" y="4492"/>
                  </a:cubicBezTo>
                  <a:cubicBezTo>
                    <a:pt x="3855" y="4534"/>
                    <a:pt x="3864" y="4582"/>
                    <a:pt x="3879" y="4622"/>
                  </a:cubicBezTo>
                  <a:cubicBezTo>
                    <a:pt x="3889" y="4640"/>
                    <a:pt x="3893" y="4647"/>
                    <a:pt x="3903" y="4657"/>
                  </a:cubicBezTo>
                </a:path>
                <a:path w="7282" h="4686" extrusionOk="0">
                  <a:moveTo>
                    <a:pt x="3863" y="4211"/>
                  </a:moveTo>
                  <a:cubicBezTo>
                    <a:pt x="3864" y="4175"/>
                    <a:pt x="3858" y="4154"/>
                    <a:pt x="3898" y="4143"/>
                  </a:cubicBezTo>
                  <a:cubicBezTo>
                    <a:pt x="3933" y="4134"/>
                    <a:pt x="3975" y="4134"/>
                    <a:pt x="4011" y="4130"/>
                  </a:cubicBezTo>
                  <a:cubicBezTo>
                    <a:pt x="4083" y="4122"/>
                    <a:pt x="4154" y="4107"/>
                    <a:pt x="4226" y="4100"/>
                  </a:cubicBezTo>
                  <a:cubicBezTo>
                    <a:pt x="4263" y="4096"/>
                    <a:pt x="4297" y="4094"/>
                    <a:pt x="4302" y="4140"/>
                  </a:cubicBezTo>
                  <a:cubicBezTo>
                    <a:pt x="4308" y="4195"/>
                    <a:pt x="4283" y="4253"/>
                    <a:pt x="4269" y="4304"/>
                  </a:cubicBezTo>
                  <a:cubicBezTo>
                    <a:pt x="4253" y="4363"/>
                    <a:pt x="4230" y="4434"/>
                    <a:pt x="4244" y="4495"/>
                  </a:cubicBezTo>
                  <a:cubicBezTo>
                    <a:pt x="4247" y="4507"/>
                    <a:pt x="4299" y="4561"/>
                    <a:pt x="4306" y="4539"/>
                  </a:cubicBezTo>
                  <a:cubicBezTo>
                    <a:pt x="4304" y="4532"/>
                    <a:pt x="4301" y="4526"/>
                    <a:pt x="4299" y="4519"/>
                  </a:cubicBezTo>
                </a:path>
              </a:pathLst>
            </a:custGeom>
            <a:noFill/>
            <a:ln w="19050" cap="rnd">
              <a:solidFill>
                <a:schemeClr val="tx1"/>
              </a:solidFill>
              <a:round/>
              <a:headEnd/>
              <a:tailEnd/>
            </a:ln>
          </p:spPr>
          <p:txBody>
            <a:bodyPr>
              <a:prstTxWarp prst="textNoShape">
                <a:avLst/>
              </a:prstTxWarp>
            </a:bodyPr>
            <a:lstStyle/>
            <a:p>
              <a:endParaRPr lang="en-US"/>
            </a:p>
          </p:txBody>
        </p:sp>
        <p:sp>
          <p:nvSpPr>
            <p:cNvPr id="40970" name="Freeform 13"/>
            <p:cNvSpPr>
              <a:spLocks noRot="1" noChangeAspect="1" noEditPoints="1" noChangeArrowheads="1" noChangeShapeType="1" noTextEdit="1"/>
            </p:cNvSpPr>
            <p:nvPr>
              <p:custDataLst>
                <p:tags r:id="rId8"/>
              </p:custDataLst>
            </p:nvPr>
          </p:nvSpPr>
          <p:spPr bwMode="auto">
            <a:xfrm>
              <a:off x="1879600" y="2909888"/>
              <a:ext cx="776288" cy="647700"/>
            </a:xfrm>
            <a:custGeom>
              <a:avLst/>
              <a:gdLst>
                <a:gd name="T0" fmla="*/ 301149 w 2155"/>
                <a:gd name="T1" fmla="*/ 181975 h 1801"/>
                <a:gd name="T2" fmla="*/ 393007 w 2155"/>
                <a:gd name="T3" fmla="*/ 420412 h 1801"/>
                <a:gd name="T4" fmla="*/ 621751 w 2155"/>
                <a:gd name="T5" fmla="*/ 401351 h 1801"/>
                <a:gd name="T6" fmla="*/ 603379 w 2155"/>
                <a:gd name="T7" fmla="*/ 231604 h 1801"/>
                <a:gd name="T8" fmla="*/ 379318 w 2155"/>
                <a:gd name="T9" fmla="*/ 93505 h 1801"/>
                <a:gd name="T10" fmla="*/ 381840 w 2155"/>
                <a:gd name="T11" fmla="*/ 124433 h 1801"/>
                <a:gd name="T12" fmla="*/ 323483 w 2155"/>
                <a:gd name="T13" fmla="*/ 188448 h 1801"/>
                <a:gd name="T14" fmla="*/ 323483 w 2155"/>
                <a:gd name="T15" fmla="*/ 253542 h 1801"/>
                <a:gd name="T16" fmla="*/ 355183 w 2155"/>
                <a:gd name="T17" fmla="*/ 575773 h 1801"/>
                <a:gd name="T18" fmla="*/ 591132 w 2155"/>
                <a:gd name="T19" fmla="*/ 421131 h 1801"/>
                <a:gd name="T20" fmla="*/ 658494 w 2155"/>
                <a:gd name="T21" fmla="*/ 365388 h 1801"/>
                <a:gd name="T22" fmla="*/ 426148 w 2155"/>
                <a:gd name="T23" fmla="*/ 311083 h 1801"/>
                <a:gd name="T24" fmla="*/ 456047 w 2155"/>
                <a:gd name="T25" fmla="*/ 285189 h 1801"/>
                <a:gd name="T26" fmla="*/ 609863 w 2155"/>
                <a:gd name="T27" fmla="*/ 138819 h 1801"/>
                <a:gd name="T28" fmla="*/ 712528 w 2155"/>
                <a:gd name="T29" fmla="*/ 41358 h 1801"/>
                <a:gd name="T30" fmla="*/ 674704 w 2155"/>
                <a:gd name="T31" fmla="*/ 45673 h 1801"/>
                <a:gd name="T32" fmla="*/ 714329 w 2155"/>
                <a:gd name="T33" fmla="*/ 62936 h 1801"/>
                <a:gd name="T34" fmla="*/ 774127 w 2155"/>
                <a:gd name="T35" fmla="*/ 3596 h 1801"/>
                <a:gd name="T36" fmla="*/ 689113 w 2155"/>
                <a:gd name="T37" fmla="*/ 22297 h 1801"/>
                <a:gd name="T38" fmla="*/ 488107 w 2155"/>
                <a:gd name="T39" fmla="*/ 428683 h 1801"/>
                <a:gd name="T40" fmla="*/ 433352 w 2155"/>
                <a:gd name="T41" fmla="*/ 637271 h 1801"/>
                <a:gd name="T42" fmla="*/ 471897 w 2155"/>
                <a:gd name="T43" fmla="*/ 627920 h 1801"/>
                <a:gd name="T44" fmla="*/ 609863 w 2155"/>
                <a:gd name="T45" fmla="*/ 557792 h 1801"/>
                <a:gd name="T46" fmla="*/ 660295 w 2155"/>
                <a:gd name="T47" fmla="*/ 543047 h 1801"/>
                <a:gd name="T48" fmla="*/ 596175 w 2155"/>
                <a:gd name="T49" fmla="*/ 481190 h 1801"/>
                <a:gd name="T50" fmla="*/ 497473 w 2155"/>
                <a:gd name="T51" fmla="*/ 440551 h 1801"/>
                <a:gd name="T52" fmla="*/ 364909 w 2155"/>
                <a:gd name="T53" fmla="*/ 348125 h 1801"/>
                <a:gd name="T54" fmla="*/ 349420 w 2155"/>
                <a:gd name="T55" fmla="*/ 321153 h 1801"/>
                <a:gd name="T56" fmla="*/ 244234 w 2155"/>
                <a:gd name="T57" fmla="*/ 268646 h 1801"/>
                <a:gd name="T58" fmla="*/ 35302 w 2155"/>
                <a:gd name="T59" fmla="*/ 141696 h 1801"/>
                <a:gd name="T60" fmla="*/ 62319 w 2155"/>
                <a:gd name="T61" fmla="*/ 150327 h 1801"/>
                <a:gd name="T62" fmla="*/ 208931 w 2155"/>
                <a:gd name="T63" fmla="*/ 148529 h 1801"/>
                <a:gd name="T64" fmla="*/ 84653 w 2155"/>
                <a:gd name="T65" fmla="*/ 224771 h 1801"/>
                <a:gd name="T66" fmla="*/ 106987 w 2155"/>
                <a:gd name="T67" fmla="*/ 233402 h 1801"/>
                <a:gd name="T68" fmla="*/ 186597 w 2155"/>
                <a:gd name="T69" fmla="*/ 238797 h 1801"/>
                <a:gd name="T70" fmla="*/ 71325 w 2155"/>
                <a:gd name="T71" fmla="*/ 306767 h 1801"/>
                <a:gd name="T72" fmla="*/ 151295 w 2155"/>
                <a:gd name="T73" fmla="*/ 281593 h 1801"/>
                <a:gd name="T74" fmla="*/ 207851 w 2155"/>
                <a:gd name="T75" fmla="*/ 295978 h 1801"/>
                <a:gd name="T76" fmla="*/ 130402 w 2155"/>
                <a:gd name="T77" fmla="*/ 360712 h 1801"/>
                <a:gd name="T78" fmla="*/ 208931 w 2155"/>
                <a:gd name="T79" fmla="*/ 366467 h 1801"/>
                <a:gd name="T80" fmla="*/ 0 w 2155"/>
                <a:gd name="T81" fmla="*/ 472918 h 1801"/>
                <a:gd name="T82" fmla="*/ 99062 w 2155"/>
                <a:gd name="T83" fmla="*/ 481909 h 1801"/>
                <a:gd name="T84" fmla="*/ 258282 w 2155"/>
                <a:gd name="T85" fmla="*/ 506004 h 180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155"/>
                <a:gd name="T130" fmla="*/ 0 h 1801"/>
                <a:gd name="T131" fmla="*/ 2155 w 2155"/>
                <a:gd name="T132" fmla="*/ 1801 h 180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155" h="1801" extrusionOk="0">
                  <a:moveTo>
                    <a:pt x="881" y="464"/>
                  </a:moveTo>
                  <a:cubicBezTo>
                    <a:pt x="855" y="469"/>
                    <a:pt x="843" y="447"/>
                    <a:pt x="836" y="506"/>
                  </a:cubicBezTo>
                  <a:cubicBezTo>
                    <a:pt x="825" y="594"/>
                    <a:pt x="855" y="708"/>
                    <a:pt x="876" y="792"/>
                  </a:cubicBezTo>
                  <a:cubicBezTo>
                    <a:pt x="911" y="933"/>
                    <a:pt x="972" y="1079"/>
                    <a:pt x="1091" y="1169"/>
                  </a:cubicBezTo>
                  <a:cubicBezTo>
                    <a:pt x="1167" y="1227"/>
                    <a:pt x="1271" y="1261"/>
                    <a:pt x="1366" y="1260"/>
                  </a:cubicBezTo>
                  <a:cubicBezTo>
                    <a:pt x="1500" y="1259"/>
                    <a:pt x="1627" y="1204"/>
                    <a:pt x="1726" y="1116"/>
                  </a:cubicBezTo>
                  <a:cubicBezTo>
                    <a:pt x="1802" y="1048"/>
                    <a:pt x="1870" y="942"/>
                    <a:pt x="1849" y="836"/>
                  </a:cubicBezTo>
                  <a:cubicBezTo>
                    <a:pt x="1832" y="749"/>
                    <a:pt x="1742" y="691"/>
                    <a:pt x="1675" y="644"/>
                  </a:cubicBezTo>
                  <a:cubicBezTo>
                    <a:pt x="1525" y="538"/>
                    <a:pt x="1364" y="447"/>
                    <a:pt x="1208" y="351"/>
                  </a:cubicBezTo>
                  <a:cubicBezTo>
                    <a:pt x="1156" y="319"/>
                    <a:pt x="1109" y="285"/>
                    <a:pt x="1053" y="260"/>
                  </a:cubicBezTo>
                  <a:cubicBezTo>
                    <a:pt x="1048" y="259"/>
                    <a:pt x="1043" y="257"/>
                    <a:pt x="1038" y="256"/>
                  </a:cubicBezTo>
                  <a:cubicBezTo>
                    <a:pt x="1039" y="289"/>
                    <a:pt x="1047" y="310"/>
                    <a:pt x="1060" y="346"/>
                  </a:cubicBezTo>
                  <a:cubicBezTo>
                    <a:pt x="1071" y="377"/>
                    <a:pt x="1074" y="387"/>
                    <a:pt x="1080" y="408"/>
                  </a:cubicBezTo>
                </a:path>
                <a:path w="2155" h="1801" extrusionOk="0">
                  <a:moveTo>
                    <a:pt x="898" y="524"/>
                  </a:moveTo>
                  <a:cubicBezTo>
                    <a:pt x="888" y="543"/>
                    <a:pt x="886" y="533"/>
                    <a:pt x="891" y="574"/>
                  </a:cubicBezTo>
                  <a:cubicBezTo>
                    <a:pt x="897" y="618"/>
                    <a:pt x="899" y="660"/>
                    <a:pt x="898" y="705"/>
                  </a:cubicBezTo>
                  <a:cubicBezTo>
                    <a:pt x="890" y="964"/>
                    <a:pt x="820" y="1266"/>
                    <a:pt x="915" y="1516"/>
                  </a:cubicBezTo>
                  <a:cubicBezTo>
                    <a:pt x="928" y="1550"/>
                    <a:pt x="948" y="1591"/>
                    <a:pt x="986" y="1601"/>
                  </a:cubicBezTo>
                  <a:cubicBezTo>
                    <a:pt x="1035" y="1614"/>
                    <a:pt x="1111" y="1541"/>
                    <a:pt x="1146" y="1518"/>
                  </a:cubicBezTo>
                  <a:cubicBezTo>
                    <a:pt x="1315" y="1408"/>
                    <a:pt x="1481" y="1293"/>
                    <a:pt x="1641" y="1171"/>
                  </a:cubicBezTo>
                  <a:cubicBezTo>
                    <a:pt x="1692" y="1132"/>
                    <a:pt x="1742" y="1093"/>
                    <a:pt x="1790" y="1051"/>
                  </a:cubicBezTo>
                  <a:cubicBezTo>
                    <a:pt x="1809" y="1035"/>
                    <a:pt x="1816" y="1029"/>
                    <a:pt x="1828" y="1016"/>
                  </a:cubicBezTo>
                  <a:cubicBezTo>
                    <a:pt x="1772" y="1016"/>
                    <a:pt x="1794" y="1036"/>
                    <a:pt x="1745" y="989"/>
                  </a:cubicBezTo>
                </a:path>
                <a:path w="2155" h="1801" extrusionOk="0">
                  <a:moveTo>
                    <a:pt x="1183" y="865"/>
                  </a:moveTo>
                  <a:cubicBezTo>
                    <a:pt x="1175" y="849"/>
                    <a:pt x="1174" y="842"/>
                    <a:pt x="1185" y="831"/>
                  </a:cubicBezTo>
                  <a:cubicBezTo>
                    <a:pt x="1221" y="823"/>
                    <a:pt x="1235" y="814"/>
                    <a:pt x="1266" y="793"/>
                  </a:cubicBezTo>
                  <a:cubicBezTo>
                    <a:pt x="1324" y="754"/>
                    <a:pt x="1368" y="703"/>
                    <a:pt x="1418" y="655"/>
                  </a:cubicBezTo>
                  <a:cubicBezTo>
                    <a:pt x="1510" y="566"/>
                    <a:pt x="1603" y="477"/>
                    <a:pt x="1693" y="386"/>
                  </a:cubicBezTo>
                  <a:cubicBezTo>
                    <a:pt x="1768" y="310"/>
                    <a:pt x="1841" y="231"/>
                    <a:pt x="1919" y="158"/>
                  </a:cubicBezTo>
                  <a:cubicBezTo>
                    <a:pt x="1946" y="132"/>
                    <a:pt x="1942" y="126"/>
                    <a:pt x="1978" y="115"/>
                  </a:cubicBezTo>
                </a:path>
                <a:path w="2155" h="1801" extrusionOk="0">
                  <a:moveTo>
                    <a:pt x="1924" y="24"/>
                  </a:moveTo>
                  <a:cubicBezTo>
                    <a:pt x="1908" y="57"/>
                    <a:pt x="1886" y="93"/>
                    <a:pt x="1873" y="127"/>
                  </a:cubicBezTo>
                  <a:cubicBezTo>
                    <a:pt x="1859" y="165"/>
                    <a:pt x="1848" y="187"/>
                    <a:pt x="1866" y="222"/>
                  </a:cubicBezTo>
                  <a:cubicBezTo>
                    <a:pt x="1908" y="212"/>
                    <a:pt x="1946" y="198"/>
                    <a:pt x="1983" y="175"/>
                  </a:cubicBezTo>
                  <a:cubicBezTo>
                    <a:pt x="2031" y="146"/>
                    <a:pt x="2091" y="111"/>
                    <a:pt x="2129" y="69"/>
                  </a:cubicBezTo>
                  <a:cubicBezTo>
                    <a:pt x="2149" y="47"/>
                    <a:pt x="2152" y="35"/>
                    <a:pt x="2149" y="10"/>
                  </a:cubicBezTo>
                  <a:cubicBezTo>
                    <a:pt x="2090" y="0"/>
                    <a:pt x="2043" y="7"/>
                    <a:pt x="1984" y="25"/>
                  </a:cubicBezTo>
                  <a:cubicBezTo>
                    <a:pt x="1955" y="34"/>
                    <a:pt x="1871" y="42"/>
                    <a:pt x="1913" y="62"/>
                  </a:cubicBezTo>
                </a:path>
                <a:path w="2155" h="1801" extrusionOk="0">
                  <a:moveTo>
                    <a:pt x="1341" y="1264"/>
                  </a:moveTo>
                  <a:cubicBezTo>
                    <a:pt x="1336" y="1231"/>
                    <a:pt x="1341" y="1222"/>
                    <a:pt x="1355" y="1192"/>
                  </a:cubicBezTo>
                  <a:cubicBezTo>
                    <a:pt x="1368" y="1228"/>
                    <a:pt x="1363" y="1255"/>
                    <a:pt x="1355" y="1294"/>
                  </a:cubicBezTo>
                  <a:cubicBezTo>
                    <a:pt x="1320" y="1454"/>
                    <a:pt x="1213" y="1608"/>
                    <a:pt x="1203" y="1772"/>
                  </a:cubicBezTo>
                  <a:cubicBezTo>
                    <a:pt x="1204" y="1779"/>
                    <a:pt x="1204" y="1787"/>
                    <a:pt x="1205" y="1794"/>
                  </a:cubicBezTo>
                  <a:cubicBezTo>
                    <a:pt x="1251" y="1798"/>
                    <a:pt x="1271" y="1774"/>
                    <a:pt x="1310" y="1746"/>
                  </a:cubicBezTo>
                  <a:cubicBezTo>
                    <a:pt x="1358" y="1711"/>
                    <a:pt x="1406" y="1676"/>
                    <a:pt x="1458" y="1646"/>
                  </a:cubicBezTo>
                  <a:cubicBezTo>
                    <a:pt x="1530" y="1604"/>
                    <a:pt x="1611" y="1568"/>
                    <a:pt x="1693" y="1551"/>
                  </a:cubicBezTo>
                  <a:cubicBezTo>
                    <a:pt x="1724" y="1545"/>
                    <a:pt x="1755" y="1542"/>
                    <a:pt x="1786" y="1538"/>
                  </a:cubicBezTo>
                  <a:cubicBezTo>
                    <a:pt x="1814" y="1534"/>
                    <a:pt x="1813" y="1526"/>
                    <a:pt x="1833" y="1510"/>
                  </a:cubicBezTo>
                  <a:cubicBezTo>
                    <a:pt x="1806" y="1483"/>
                    <a:pt x="1777" y="1464"/>
                    <a:pt x="1751" y="1433"/>
                  </a:cubicBezTo>
                  <a:cubicBezTo>
                    <a:pt x="1722" y="1398"/>
                    <a:pt x="1691" y="1366"/>
                    <a:pt x="1655" y="1338"/>
                  </a:cubicBezTo>
                  <a:cubicBezTo>
                    <a:pt x="1607" y="1301"/>
                    <a:pt x="1551" y="1269"/>
                    <a:pt x="1495" y="1247"/>
                  </a:cubicBezTo>
                  <a:cubicBezTo>
                    <a:pt x="1458" y="1233"/>
                    <a:pt x="1420" y="1227"/>
                    <a:pt x="1381" y="1225"/>
                  </a:cubicBezTo>
                  <a:cubicBezTo>
                    <a:pt x="1420" y="1232"/>
                    <a:pt x="1437" y="1230"/>
                    <a:pt x="1476" y="1224"/>
                  </a:cubicBezTo>
                </a:path>
                <a:path w="2155" h="1801" extrusionOk="0">
                  <a:moveTo>
                    <a:pt x="1013" y="968"/>
                  </a:moveTo>
                  <a:cubicBezTo>
                    <a:pt x="1033" y="955"/>
                    <a:pt x="1043" y="949"/>
                    <a:pt x="1055" y="930"/>
                  </a:cubicBezTo>
                  <a:cubicBezTo>
                    <a:pt x="1027" y="917"/>
                    <a:pt x="999" y="903"/>
                    <a:pt x="970" y="893"/>
                  </a:cubicBezTo>
                  <a:cubicBezTo>
                    <a:pt x="929" y="879"/>
                    <a:pt x="888" y="862"/>
                    <a:pt x="848" y="845"/>
                  </a:cubicBezTo>
                  <a:cubicBezTo>
                    <a:pt x="794" y="822"/>
                    <a:pt x="718" y="792"/>
                    <a:pt x="678" y="747"/>
                  </a:cubicBezTo>
                  <a:cubicBezTo>
                    <a:pt x="633" y="696"/>
                    <a:pt x="691" y="701"/>
                    <a:pt x="728" y="692"/>
                  </a:cubicBezTo>
                </a:path>
                <a:path w="2155" h="1801" extrusionOk="0">
                  <a:moveTo>
                    <a:pt x="98" y="394"/>
                  </a:moveTo>
                  <a:cubicBezTo>
                    <a:pt x="77" y="402"/>
                    <a:pt x="70" y="404"/>
                    <a:pt x="62" y="418"/>
                  </a:cubicBezTo>
                  <a:cubicBezTo>
                    <a:pt x="100" y="422"/>
                    <a:pt x="135" y="421"/>
                    <a:pt x="173" y="418"/>
                  </a:cubicBezTo>
                  <a:cubicBezTo>
                    <a:pt x="255" y="412"/>
                    <a:pt x="335" y="417"/>
                    <a:pt x="417" y="419"/>
                  </a:cubicBezTo>
                  <a:cubicBezTo>
                    <a:pt x="471" y="420"/>
                    <a:pt x="526" y="418"/>
                    <a:pt x="580" y="413"/>
                  </a:cubicBezTo>
                  <a:cubicBezTo>
                    <a:pt x="588" y="412"/>
                    <a:pt x="595" y="412"/>
                    <a:pt x="603" y="411"/>
                  </a:cubicBezTo>
                </a:path>
                <a:path w="2155" h="1801" extrusionOk="0">
                  <a:moveTo>
                    <a:pt x="235" y="625"/>
                  </a:moveTo>
                  <a:cubicBezTo>
                    <a:pt x="229" y="633"/>
                    <a:pt x="224" y="641"/>
                    <a:pt x="218" y="649"/>
                  </a:cubicBezTo>
                  <a:cubicBezTo>
                    <a:pt x="247" y="660"/>
                    <a:pt x="265" y="653"/>
                    <a:pt x="297" y="649"/>
                  </a:cubicBezTo>
                  <a:cubicBezTo>
                    <a:pt x="338" y="644"/>
                    <a:pt x="379" y="646"/>
                    <a:pt x="420" y="647"/>
                  </a:cubicBezTo>
                  <a:cubicBezTo>
                    <a:pt x="453" y="648"/>
                    <a:pt x="487" y="652"/>
                    <a:pt x="518" y="664"/>
                  </a:cubicBezTo>
                  <a:cubicBezTo>
                    <a:pt x="525" y="667"/>
                    <a:pt x="533" y="671"/>
                    <a:pt x="540" y="674"/>
                  </a:cubicBezTo>
                </a:path>
                <a:path w="2155" h="1801" extrusionOk="0">
                  <a:moveTo>
                    <a:pt x="198" y="853"/>
                  </a:moveTo>
                  <a:cubicBezTo>
                    <a:pt x="231" y="837"/>
                    <a:pt x="258" y="824"/>
                    <a:pt x="292" y="813"/>
                  </a:cubicBezTo>
                  <a:cubicBezTo>
                    <a:pt x="332" y="800"/>
                    <a:pt x="377" y="785"/>
                    <a:pt x="420" y="783"/>
                  </a:cubicBezTo>
                  <a:cubicBezTo>
                    <a:pt x="458" y="781"/>
                    <a:pt x="501" y="783"/>
                    <a:pt x="537" y="793"/>
                  </a:cubicBezTo>
                  <a:cubicBezTo>
                    <a:pt x="560" y="803"/>
                    <a:pt x="568" y="807"/>
                    <a:pt x="577" y="823"/>
                  </a:cubicBezTo>
                </a:path>
                <a:path w="2155" h="1801" extrusionOk="0">
                  <a:moveTo>
                    <a:pt x="230" y="1019"/>
                  </a:moveTo>
                  <a:cubicBezTo>
                    <a:pt x="275" y="1018"/>
                    <a:pt x="317" y="1011"/>
                    <a:pt x="362" y="1003"/>
                  </a:cubicBezTo>
                  <a:cubicBezTo>
                    <a:pt x="408" y="995"/>
                    <a:pt x="460" y="991"/>
                    <a:pt x="507" y="996"/>
                  </a:cubicBezTo>
                  <a:cubicBezTo>
                    <a:pt x="535" y="999"/>
                    <a:pt x="555" y="1008"/>
                    <a:pt x="580" y="1019"/>
                  </a:cubicBezTo>
                </a:path>
                <a:path w="2155" h="1801" extrusionOk="0">
                  <a:moveTo>
                    <a:pt x="58" y="1318"/>
                  </a:moveTo>
                  <a:cubicBezTo>
                    <a:pt x="36" y="1315"/>
                    <a:pt x="21" y="1313"/>
                    <a:pt x="0" y="1315"/>
                  </a:cubicBezTo>
                  <a:cubicBezTo>
                    <a:pt x="22" y="1343"/>
                    <a:pt x="49" y="1332"/>
                    <a:pt x="87" y="1333"/>
                  </a:cubicBezTo>
                  <a:cubicBezTo>
                    <a:pt x="150" y="1335"/>
                    <a:pt x="212" y="1337"/>
                    <a:pt x="275" y="1340"/>
                  </a:cubicBezTo>
                  <a:cubicBezTo>
                    <a:pt x="354" y="1344"/>
                    <a:pt x="431" y="1358"/>
                    <a:pt x="508" y="1372"/>
                  </a:cubicBezTo>
                  <a:cubicBezTo>
                    <a:pt x="577" y="1385"/>
                    <a:pt x="647" y="1401"/>
                    <a:pt x="717" y="1407"/>
                  </a:cubicBezTo>
                  <a:cubicBezTo>
                    <a:pt x="738" y="1408"/>
                    <a:pt x="745" y="1408"/>
                    <a:pt x="758" y="1412"/>
                  </a:cubicBezTo>
                </a:path>
              </a:pathLst>
            </a:custGeom>
            <a:noFill/>
            <a:ln w="19050" cap="rnd">
              <a:solidFill>
                <a:schemeClr val="tx1"/>
              </a:solidFill>
              <a:round/>
              <a:headEnd/>
              <a:tailEnd/>
            </a:ln>
          </p:spPr>
          <p:txBody>
            <a:bodyPr>
              <a:prstTxWarp prst="textNoShape">
                <a:avLst/>
              </a:prstTxWarp>
            </a:bodyPr>
            <a:lstStyle/>
            <a:p>
              <a:endParaRPr lang="en-US"/>
            </a:p>
          </p:txBody>
        </p:sp>
        <p:sp>
          <p:nvSpPr>
            <p:cNvPr id="40971" name="Freeform 14"/>
            <p:cNvSpPr>
              <a:spLocks noRot="1" noChangeAspect="1" noEditPoints="1" noChangeArrowheads="1" noChangeShapeType="1" noTextEdit="1"/>
            </p:cNvSpPr>
            <p:nvPr>
              <p:custDataLst>
                <p:tags r:id="rId9"/>
              </p:custDataLst>
            </p:nvPr>
          </p:nvSpPr>
          <p:spPr bwMode="auto">
            <a:xfrm>
              <a:off x="3209925" y="2598738"/>
              <a:ext cx="387350" cy="569912"/>
            </a:xfrm>
            <a:custGeom>
              <a:avLst/>
              <a:gdLst>
                <a:gd name="T0" fmla="*/ 90526 w 1074"/>
                <a:gd name="T1" fmla="*/ 377783 h 1584"/>
                <a:gd name="T2" fmla="*/ 0 w 1074"/>
                <a:gd name="T3" fmla="*/ 198965 h 1584"/>
                <a:gd name="T4" fmla="*/ 72493 w 1074"/>
                <a:gd name="T5" fmla="*/ 42815 h 1584"/>
                <a:gd name="T6" fmla="*/ 240922 w 1074"/>
                <a:gd name="T7" fmla="*/ 6476 h 1584"/>
                <a:gd name="T8" fmla="*/ 340103 w 1074"/>
                <a:gd name="T9" fmla="*/ 116933 h 1584"/>
                <a:gd name="T10" fmla="*/ 363546 w 1074"/>
                <a:gd name="T11" fmla="*/ 288194 h 1584"/>
                <a:gd name="T12" fmla="*/ 337579 w 1074"/>
                <a:gd name="T13" fmla="*/ 347920 h 1584"/>
                <a:gd name="T14" fmla="*/ 347317 w 1074"/>
                <a:gd name="T15" fmla="*/ 398651 h 1584"/>
                <a:gd name="T16" fmla="*/ 365350 w 1074"/>
                <a:gd name="T17" fmla="*/ 514864 h 1584"/>
                <a:gd name="T18" fmla="*/ 287086 w 1074"/>
                <a:gd name="T19" fmla="*/ 547605 h 1584"/>
                <a:gd name="T20" fmla="*/ 239118 w 1074"/>
                <a:gd name="T21" fmla="*/ 566674 h 1584"/>
                <a:gd name="T22" fmla="*/ 218200 w 1074"/>
                <a:gd name="T23" fmla="*/ 496154 h 1584"/>
                <a:gd name="T24" fmla="*/ 227577 w 1074"/>
                <a:gd name="T25" fmla="*/ 450101 h 1584"/>
                <a:gd name="T26" fmla="*/ 261840 w 1074"/>
                <a:gd name="T27" fmla="*/ 479604 h 1584"/>
                <a:gd name="T28" fmla="*/ 277709 w 1074"/>
                <a:gd name="T29" fmla="*/ 524938 h 1584"/>
                <a:gd name="T30" fmla="*/ 353809 w 1074"/>
                <a:gd name="T31" fmla="*/ 514864 h 1584"/>
                <a:gd name="T32" fmla="*/ 344792 w 1074"/>
                <a:gd name="T33" fmla="*/ 470969 h 1584"/>
                <a:gd name="T34" fmla="*/ 386989 w 1074"/>
                <a:gd name="T35" fmla="*/ 501551 h 1584"/>
                <a:gd name="T36" fmla="*/ 386989 w 1074"/>
                <a:gd name="T37" fmla="*/ 501551 h 1584"/>
                <a:gd name="T38" fmla="*/ 314857 w 1074"/>
                <a:gd name="T39" fmla="*/ 522060 h 1584"/>
                <a:gd name="T40" fmla="*/ 292135 w 1074"/>
                <a:gd name="T41" fmla="*/ 505149 h 1584"/>
                <a:gd name="T42" fmla="*/ 293939 w 1074"/>
                <a:gd name="T43" fmla="*/ 468810 h 1584"/>
                <a:gd name="T44" fmla="*/ 137412 w 1074"/>
                <a:gd name="T45" fmla="*/ 174500 h 1584"/>
                <a:gd name="T46" fmla="*/ 184298 w 1074"/>
                <a:gd name="T47" fmla="*/ 268765 h 1584"/>
                <a:gd name="T48" fmla="*/ 203052 w 1074"/>
                <a:gd name="T49" fmla="*/ 238543 h 1584"/>
                <a:gd name="T50" fmla="*/ 175281 w 1074"/>
                <a:gd name="T51" fmla="*/ 161187 h 1584"/>
                <a:gd name="T52" fmla="*/ 278791 w 1074"/>
                <a:gd name="T53" fmla="*/ 147515 h 1584"/>
                <a:gd name="T54" fmla="*/ 284922 w 1074"/>
                <a:gd name="T55" fmla="*/ 205082 h 1584"/>
                <a:gd name="T56" fmla="*/ 346235 w 1074"/>
                <a:gd name="T57" fmla="*/ 186373 h 1584"/>
                <a:gd name="T58" fmla="*/ 279512 w 1074"/>
                <a:gd name="T59" fmla="*/ 166584 h 1584"/>
                <a:gd name="T60" fmla="*/ 246332 w 1074"/>
                <a:gd name="T61" fmla="*/ 338925 h 1584"/>
                <a:gd name="T62" fmla="*/ 258233 w 1074"/>
                <a:gd name="T63" fmla="*/ 330650 h 1584"/>
                <a:gd name="T64" fmla="*/ 288890 w 1074"/>
                <a:gd name="T65" fmla="*/ 325613 h 1584"/>
                <a:gd name="T66" fmla="*/ 293217 w 1074"/>
                <a:gd name="T67" fmla="*/ 270564 h 1584"/>
                <a:gd name="T68" fmla="*/ 324956 w 1074"/>
                <a:gd name="T69" fmla="*/ 298988 h 1584"/>
                <a:gd name="T70" fmla="*/ 310169 w 1074"/>
                <a:gd name="T71" fmla="*/ 350798 h 1584"/>
                <a:gd name="T72" fmla="*/ 269053 w 1074"/>
                <a:gd name="T73" fmla="*/ 382100 h 1584"/>
                <a:gd name="T74" fmla="*/ 254627 w 1074"/>
                <a:gd name="T75" fmla="*/ 346840 h 158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74"/>
                <a:gd name="T115" fmla="*/ 0 h 1584"/>
                <a:gd name="T116" fmla="*/ 1074 w 1074"/>
                <a:gd name="T117" fmla="*/ 1584 h 158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74" h="1584" extrusionOk="0">
                  <a:moveTo>
                    <a:pt x="323" y="1116"/>
                  </a:moveTo>
                  <a:cubicBezTo>
                    <a:pt x="299" y="1092"/>
                    <a:pt x="276" y="1073"/>
                    <a:pt x="251" y="1050"/>
                  </a:cubicBezTo>
                  <a:cubicBezTo>
                    <a:pt x="185" y="990"/>
                    <a:pt x="135" y="919"/>
                    <a:pt x="88" y="844"/>
                  </a:cubicBezTo>
                  <a:cubicBezTo>
                    <a:pt x="33" y="756"/>
                    <a:pt x="9" y="656"/>
                    <a:pt x="0" y="553"/>
                  </a:cubicBezTo>
                  <a:cubicBezTo>
                    <a:pt x="-6" y="484"/>
                    <a:pt x="10" y="411"/>
                    <a:pt x="35" y="347"/>
                  </a:cubicBezTo>
                  <a:cubicBezTo>
                    <a:pt x="67" y="263"/>
                    <a:pt x="134" y="178"/>
                    <a:pt x="201" y="119"/>
                  </a:cubicBezTo>
                  <a:cubicBezTo>
                    <a:pt x="274" y="55"/>
                    <a:pt x="355" y="19"/>
                    <a:pt x="450" y="5"/>
                  </a:cubicBezTo>
                  <a:cubicBezTo>
                    <a:pt x="519" y="-5"/>
                    <a:pt x="601" y="-4"/>
                    <a:pt x="668" y="18"/>
                  </a:cubicBezTo>
                  <a:cubicBezTo>
                    <a:pt x="706" y="31"/>
                    <a:pt x="744" y="53"/>
                    <a:pt x="775" y="79"/>
                  </a:cubicBezTo>
                  <a:cubicBezTo>
                    <a:pt x="850" y="142"/>
                    <a:pt x="908" y="235"/>
                    <a:pt x="943" y="325"/>
                  </a:cubicBezTo>
                  <a:cubicBezTo>
                    <a:pt x="989" y="441"/>
                    <a:pt x="998" y="579"/>
                    <a:pt x="1006" y="703"/>
                  </a:cubicBezTo>
                  <a:cubicBezTo>
                    <a:pt x="1008" y="736"/>
                    <a:pt x="1009" y="768"/>
                    <a:pt x="1008" y="801"/>
                  </a:cubicBezTo>
                  <a:cubicBezTo>
                    <a:pt x="1008" y="820"/>
                    <a:pt x="1013" y="852"/>
                    <a:pt x="1008" y="869"/>
                  </a:cubicBezTo>
                  <a:cubicBezTo>
                    <a:pt x="996" y="912"/>
                    <a:pt x="957" y="929"/>
                    <a:pt x="936" y="967"/>
                  </a:cubicBezTo>
                  <a:cubicBezTo>
                    <a:pt x="919" y="998"/>
                    <a:pt x="921" y="1013"/>
                    <a:pt x="928" y="1040"/>
                  </a:cubicBezTo>
                  <a:cubicBezTo>
                    <a:pt x="934" y="1062"/>
                    <a:pt x="954" y="1087"/>
                    <a:pt x="963" y="1108"/>
                  </a:cubicBezTo>
                  <a:cubicBezTo>
                    <a:pt x="974" y="1134"/>
                    <a:pt x="985" y="1162"/>
                    <a:pt x="993" y="1190"/>
                  </a:cubicBezTo>
                  <a:cubicBezTo>
                    <a:pt x="1009" y="1247"/>
                    <a:pt x="1061" y="1390"/>
                    <a:pt x="1013" y="1431"/>
                  </a:cubicBezTo>
                  <a:cubicBezTo>
                    <a:pt x="984" y="1455"/>
                    <a:pt x="918" y="1462"/>
                    <a:pt x="883" y="1477"/>
                  </a:cubicBezTo>
                  <a:cubicBezTo>
                    <a:pt x="853" y="1490"/>
                    <a:pt x="825" y="1507"/>
                    <a:pt x="796" y="1522"/>
                  </a:cubicBezTo>
                  <a:cubicBezTo>
                    <a:pt x="763" y="1540"/>
                    <a:pt x="709" y="1577"/>
                    <a:pt x="678" y="1583"/>
                  </a:cubicBezTo>
                  <a:cubicBezTo>
                    <a:pt x="673" y="1580"/>
                    <a:pt x="668" y="1578"/>
                    <a:pt x="663" y="1575"/>
                  </a:cubicBezTo>
                  <a:cubicBezTo>
                    <a:pt x="646" y="1541"/>
                    <a:pt x="610" y="1496"/>
                    <a:pt x="601" y="1464"/>
                  </a:cubicBezTo>
                  <a:cubicBezTo>
                    <a:pt x="594" y="1437"/>
                    <a:pt x="601" y="1406"/>
                    <a:pt x="605" y="1379"/>
                  </a:cubicBezTo>
                  <a:cubicBezTo>
                    <a:pt x="609" y="1350"/>
                    <a:pt x="615" y="1322"/>
                    <a:pt x="621" y="1293"/>
                  </a:cubicBezTo>
                  <a:cubicBezTo>
                    <a:pt x="627" y="1270"/>
                    <a:pt x="628" y="1265"/>
                    <a:pt x="631" y="1251"/>
                  </a:cubicBezTo>
                  <a:cubicBezTo>
                    <a:pt x="655" y="1266"/>
                    <a:pt x="669" y="1269"/>
                    <a:pt x="690" y="1279"/>
                  </a:cubicBezTo>
                  <a:cubicBezTo>
                    <a:pt x="730" y="1297"/>
                    <a:pt x="717" y="1296"/>
                    <a:pt x="726" y="1333"/>
                  </a:cubicBezTo>
                  <a:cubicBezTo>
                    <a:pt x="732" y="1356"/>
                    <a:pt x="726" y="1383"/>
                    <a:pt x="733" y="1409"/>
                  </a:cubicBezTo>
                  <a:cubicBezTo>
                    <a:pt x="741" y="1438"/>
                    <a:pt x="751" y="1436"/>
                    <a:pt x="770" y="1459"/>
                  </a:cubicBezTo>
                </a:path>
                <a:path w="1074" h="1584" extrusionOk="0">
                  <a:moveTo>
                    <a:pt x="990" y="1510"/>
                  </a:moveTo>
                  <a:cubicBezTo>
                    <a:pt x="987" y="1484"/>
                    <a:pt x="983" y="1457"/>
                    <a:pt x="981" y="1431"/>
                  </a:cubicBezTo>
                  <a:cubicBezTo>
                    <a:pt x="978" y="1397"/>
                    <a:pt x="976" y="1358"/>
                    <a:pt x="965" y="1326"/>
                  </a:cubicBezTo>
                  <a:cubicBezTo>
                    <a:pt x="962" y="1320"/>
                    <a:pt x="959" y="1315"/>
                    <a:pt x="956" y="1309"/>
                  </a:cubicBezTo>
                </a:path>
                <a:path w="1074" h="1584" extrusionOk="0">
                  <a:moveTo>
                    <a:pt x="1073" y="1394"/>
                  </a:moveTo>
                  <a:lnTo>
                    <a:pt x="1073" y="1394"/>
                  </a:lnTo>
                </a:path>
                <a:path w="1074" h="1584" extrusionOk="0">
                  <a:moveTo>
                    <a:pt x="873" y="1451"/>
                  </a:moveTo>
                  <a:cubicBezTo>
                    <a:pt x="853" y="1461"/>
                    <a:pt x="838" y="1469"/>
                    <a:pt x="818" y="1477"/>
                  </a:cubicBezTo>
                  <a:cubicBezTo>
                    <a:pt x="812" y="1453"/>
                    <a:pt x="808" y="1429"/>
                    <a:pt x="810" y="1404"/>
                  </a:cubicBezTo>
                  <a:cubicBezTo>
                    <a:pt x="812" y="1382"/>
                    <a:pt x="815" y="1359"/>
                    <a:pt x="818" y="1337"/>
                  </a:cubicBezTo>
                  <a:cubicBezTo>
                    <a:pt x="821" y="1319"/>
                    <a:pt x="822" y="1314"/>
                    <a:pt x="815" y="1303"/>
                  </a:cubicBezTo>
                </a:path>
                <a:path w="1074" h="1584" extrusionOk="0">
                  <a:moveTo>
                    <a:pt x="376" y="390"/>
                  </a:moveTo>
                  <a:cubicBezTo>
                    <a:pt x="352" y="418"/>
                    <a:pt x="368" y="448"/>
                    <a:pt x="381" y="485"/>
                  </a:cubicBezTo>
                  <a:cubicBezTo>
                    <a:pt x="399" y="536"/>
                    <a:pt x="419" y="587"/>
                    <a:pt x="443" y="636"/>
                  </a:cubicBezTo>
                  <a:cubicBezTo>
                    <a:pt x="459" y="669"/>
                    <a:pt x="480" y="724"/>
                    <a:pt x="511" y="747"/>
                  </a:cubicBezTo>
                  <a:cubicBezTo>
                    <a:pt x="519" y="751"/>
                    <a:pt x="527" y="755"/>
                    <a:pt x="535" y="759"/>
                  </a:cubicBezTo>
                  <a:cubicBezTo>
                    <a:pt x="558" y="730"/>
                    <a:pt x="565" y="702"/>
                    <a:pt x="563" y="663"/>
                  </a:cubicBezTo>
                  <a:cubicBezTo>
                    <a:pt x="561" y="616"/>
                    <a:pt x="549" y="567"/>
                    <a:pt x="528" y="525"/>
                  </a:cubicBezTo>
                  <a:cubicBezTo>
                    <a:pt x="515" y="499"/>
                    <a:pt x="500" y="473"/>
                    <a:pt x="486" y="448"/>
                  </a:cubicBezTo>
                  <a:cubicBezTo>
                    <a:pt x="482" y="440"/>
                    <a:pt x="477" y="433"/>
                    <a:pt x="473" y="425"/>
                  </a:cubicBezTo>
                </a:path>
                <a:path w="1074" h="1584" extrusionOk="0">
                  <a:moveTo>
                    <a:pt x="773" y="410"/>
                  </a:moveTo>
                  <a:cubicBezTo>
                    <a:pt x="762" y="441"/>
                    <a:pt x="750" y="465"/>
                    <a:pt x="751" y="498"/>
                  </a:cubicBezTo>
                  <a:cubicBezTo>
                    <a:pt x="752" y="527"/>
                    <a:pt x="766" y="553"/>
                    <a:pt x="790" y="570"/>
                  </a:cubicBezTo>
                  <a:cubicBezTo>
                    <a:pt x="817" y="588"/>
                    <a:pt x="853" y="588"/>
                    <a:pt x="883" y="578"/>
                  </a:cubicBezTo>
                  <a:cubicBezTo>
                    <a:pt x="912" y="568"/>
                    <a:pt x="946" y="546"/>
                    <a:pt x="960" y="518"/>
                  </a:cubicBezTo>
                  <a:cubicBezTo>
                    <a:pt x="981" y="476"/>
                    <a:pt x="937" y="457"/>
                    <a:pt x="903" y="450"/>
                  </a:cubicBezTo>
                  <a:cubicBezTo>
                    <a:pt x="860" y="441"/>
                    <a:pt x="815" y="451"/>
                    <a:pt x="775" y="463"/>
                  </a:cubicBezTo>
                  <a:cubicBezTo>
                    <a:pt x="767" y="465"/>
                    <a:pt x="759" y="468"/>
                    <a:pt x="751" y="470"/>
                  </a:cubicBezTo>
                </a:path>
                <a:path w="1074" h="1584" extrusionOk="0">
                  <a:moveTo>
                    <a:pt x="683" y="942"/>
                  </a:moveTo>
                  <a:cubicBezTo>
                    <a:pt x="704" y="916"/>
                    <a:pt x="703" y="908"/>
                    <a:pt x="698" y="874"/>
                  </a:cubicBezTo>
                  <a:cubicBezTo>
                    <a:pt x="692" y="835"/>
                    <a:pt x="713" y="909"/>
                    <a:pt x="716" y="919"/>
                  </a:cubicBezTo>
                  <a:cubicBezTo>
                    <a:pt x="724" y="949"/>
                    <a:pt x="728" y="965"/>
                    <a:pt x="748" y="987"/>
                  </a:cubicBezTo>
                  <a:cubicBezTo>
                    <a:pt x="779" y="964"/>
                    <a:pt x="788" y="942"/>
                    <a:pt x="801" y="905"/>
                  </a:cubicBezTo>
                  <a:cubicBezTo>
                    <a:pt x="814" y="869"/>
                    <a:pt x="821" y="830"/>
                    <a:pt x="821" y="792"/>
                  </a:cubicBezTo>
                  <a:cubicBezTo>
                    <a:pt x="820" y="771"/>
                    <a:pt x="820" y="765"/>
                    <a:pt x="813" y="752"/>
                  </a:cubicBezTo>
                  <a:cubicBezTo>
                    <a:pt x="826" y="790"/>
                    <a:pt x="849" y="805"/>
                    <a:pt x="886" y="824"/>
                  </a:cubicBezTo>
                  <a:cubicBezTo>
                    <a:pt x="891" y="826"/>
                    <a:pt x="896" y="829"/>
                    <a:pt x="901" y="831"/>
                  </a:cubicBezTo>
                  <a:cubicBezTo>
                    <a:pt x="870" y="853"/>
                    <a:pt x="870" y="866"/>
                    <a:pt x="868" y="905"/>
                  </a:cubicBezTo>
                  <a:cubicBezTo>
                    <a:pt x="867" y="929"/>
                    <a:pt x="867" y="952"/>
                    <a:pt x="860" y="975"/>
                  </a:cubicBezTo>
                  <a:cubicBezTo>
                    <a:pt x="853" y="999"/>
                    <a:pt x="843" y="1024"/>
                    <a:pt x="825" y="1042"/>
                  </a:cubicBezTo>
                  <a:cubicBezTo>
                    <a:pt x="804" y="1063"/>
                    <a:pt x="770" y="1098"/>
                    <a:pt x="746" y="1062"/>
                  </a:cubicBezTo>
                  <a:cubicBezTo>
                    <a:pt x="731" y="1039"/>
                    <a:pt x="732" y="1004"/>
                    <a:pt x="710" y="985"/>
                  </a:cubicBezTo>
                  <a:cubicBezTo>
                    <a:pt x="694" y="979"/>
                    <a:pt x="690" y="976"/>
                    <a:pt x="706" y="964"/>
                  </a:cubicBezTo>
                </a:path>
              </a:pathLst>
            </a:custGeom>
            <a:noFill/>
            <a:ln w="19050" cap="rnd">
              <a:solidFill>
                <a:schemeClr val="tx1"/>
              </a:solidFill>
              <a:round/>
              <a:headEnd/>
              <a:tailEnd/>
            </a:ln>
          </p:spPr>
          <p:txBody>
            <a:bodyPr>
              <a:prstTxWarp prst="textNoShape">
                <a:avLst/>
              </a:prstTxWarp>
            </a:bodyPr>
            <a:lstStyle/>
            <a:p>
              <a:endParaRPr lang="en-US"/>
            </a:p>
          </p:txBody>
        </p:sp>
        <p:sp>
          <p:nvSpPr>
            <p:cNvPr id="40972" name="Freeform 15"/>
            <p:cNvSpPr>
              <a:spLocks noRot="1" noChangeAspect="1" noEditPoints="1" noChangeArrowheads="1" noChangeShapeType="1" noTextEdit="1"/>
            </p:cNvSpPr>
            <p:nvPr>
              <p:custDataLst>
                <p:tags r:id="rId10"/>
              </p:custDataLst>
            </p:nvPr>
          </p:nvSpPr>
          <p:spPr bwMode="auto">
            <a:xfrm>
              <a:off x="3143250" y="3011488"/>
              <a:ext cx="912813" cy="355600"/>
            </a:xfrm>
            <a:custGeom>
              <a:avLst/>
              <a:gdLst>
                <a:gd name="T0" fmla="*/ 290948 w 2535"/>
                <a:gd name="T1" fmla="*/ 306141 h 985"/>
                <a:gd name="T2" fmla="*/ 324076 w 2535"/>
                <a:gd name="T3" fmla="*/ 290978 h 985"/>
                <a:gd name="T4" fmla="*/ 383489 w 2535"/>
                <a:gd name="T5" fmla="*/ 277982 h 985"/>
                <a:gd name="T6" fmla="*/ 415897 w 2535"/>
                <a:gd name="T7" fmla="*/ 268956 h 985"/>
                <a:gd name="T8" fmla="*/ 409776 w 2535"/>
                <a:gd name="T9" fmla="*/ 283758 h 985"/>
                <a:gd name="T10" fmla="*/ 415177 w 2535"/>
                <a:gd name="T11" fmla="*/ 280870 h 985"/>
                <a:gd name="T12" fmla="*/ 421298 w 2535"/>
                <a:gd name="T13" fmla="*/ 282675 h 985"/>
                <a:gd name="T14" fmla="*/ 430300 w 2535"/>
                <a:gd name="T15" fmla="*/ 327441 h 985"/>
                <a:gd name="T16" fmla="*/ 450465 w 2535"/>
                <a:gd name="T17" fmla="*/ 307224 h 985"/>
                <a:gd name="T18" fmla="*/ 486474 w 2535"/>
                <a:gd name="T19" fmla="*/ 286646 h 985"/>
                <a:gd name="T20" fmla="*/ 536165 w 2535"/>
                <a:gd name="T21" fmla="*/ 268234 h 985"/>
                <a:gd name="T22" fmla="*/ 567492 w 2535"/>
                <a:gd name="T23" fmla="*/ 264624 h 985"/>
                <a:gd name="T24" fmla="*/ 573614 w 2535"/>
                <a:gd name="T25" fmla="*/ 261014 h 985"/>
                <a:gd name="T26" fmla="*/ 554169 w 2535"/>
                <a:gd name="T27" fmla="*/ 234660 h 985"/>
                <a:gd name="T28" fmla="*/ 542287 w 2535"/>
                <a:gd name="T29" fmla="*/ 163901 h 985"/>
                <a:gd name="T30" fmla="*/ 579015 w 2535"/>
                <a:gd name="T31" fmla="*/ 141518 h 985"/>
                <a:gd name="T32" fmla="*/ 608902 w 2535"/>
                <a:gd name="T33" fmla="*/ 182313 h 985"/>
                <a:gd name="T34" fmla="*/ 610703 w 2535"/>
                <a:gd name="T35" fmla="*/ 215526 h 985"/>
                <a:gd name="T36" fmla="*/ 619705 w 2535"/>
                <a:gd name="T37" fmla="*/ 256321 h 985"/>
                <a:gd name="T38" fmla="*/ 6121 w 2535"/>
                <a:gd name="T39" fmla="*/ 349102 h 985"/>
                <a:gd name="T40" fmla="*/ 20525 w 2535"/>
                <a:gd name="T41" fmla="*/ 342603 h 985"/>
                <a:gd name="T42" fmla="*/ 93622 w 2535"/>
                <a:gd name="T43" fmla="*/ 346214 h 985"/>
                <a:gd name="T44" fmla="*/ 374847 w 2535"/>
                <a:gd name="T45" fmla="*/ 282675 h 985"/>
                <a:gd name="T46" fmla="*/ 554169 w 2535"/>
                <a:gd name="T47" fmla="*/ 258487 h 985"/>
                <a:gd name="T48" fmla="*/ 703604 w 2535"/>
                <a:gd name="T49" fmla="*/ 256321 h 985"/>
                <a:gd name="T50" fmla="*/ 781022 w 2535"/>
                <a:gd name="T51" fmla="*/ 220941 h 985"/>
                <a:gd name="T52" fmla="*/ 760858 w 2535"/>
                <a:gd name="T53" fmla="*/ 220941 h 985"/>
                <a:gd name="T54" fmla="*/ 621505 w 2535"/>
                <a:gd name="T55" fmla="*/ 177619 h 985"/>
                <a:gd name="T56" fmla="*/ 654633 w 2535"/>
                <a:gd name="T57" fmla="*/ 164262 h 985"/>
                <a:gd name="T58" fmla="*/ 689921 w 2535"/>
                <a:gd name="T59" fmla="*/ 142240 h 985"/>
                <a:gd name="T60" fmla="*/ 712606 w 2535"/>
                <a:gd name="T61" fmla="*/ 127077 h 985"/>
                <a:gd name="T62" fmla="*/ 617184 w 2535"/>
                <a:gd name="T63" fmla="*/ 242963 h 985"/>
                <a:gd name="T64" fmla="*/ 611423 w 2535"/>
                <a:gd name="T65" fmla="*/ 249462 h 985"/>
                <a:gd name="T66" fmla="*/ 634108 w 2535"/>
                <a:gd name="T67" fmla="*/ 224912 h 985"/>
                <a:gd name="T68" fmla="*/ 669036 w 2535"/>
                <a:gd name="T69" fmla="*/ 212999 h 985"/>
                <a:gd name="T70" fmla="*/ 715127 w 2535"/>
                <a:gd name="T71" fmla="*/ 193865 h 985"/>
                <a:gd name="T72" fmla="*/ 748615 w 2535"/>
                <a:gd name="T73" fmla="*/ 173287 h 985"/>
                <a:gd name="T74" fmla="*/ 754736 w 2535"/>
                <a:gd name="T75" fmla="*/ 173287 h 985"/>
                <a:gd name="T76" fmla="*/ 744654 w 2535"/>
                <a:gd name="T77" fmla="*/ 30686 h 985"/>
                <a:gd name="T78" fmla="*/ 772740 w 2535"/>
                <a:gd name="T79" fmla="*/ 13358 h 985"/>
                <a:gd name="T80" fmla="*/ 807668 w 2535"/>
                <a:gd name="T81" fmla="*/ 722 h 985"/>
                <a:gd name="T82" fmla="*/ 831434 w 2535"/>
                <a:gd name="T83" fmla="*/ 12636 h 985"/>
                <a:gd name="T84" fmla="*/ 815950 w 2535"/>
                <a:gd name="T85" fmla="*/ 35379 h 985"/>
                <a:gd name="T86" fmla="*/ 770940 w 2535"/>
                <a:gd name="T87" fmla="*/ 88088 h 985"/>
                <a:gd name="T88" fmla="*/ 806948 w 2535"/>
                <a:gd name="T89" fmla="*/ 86283 h 985"/>
                <a:gd name="T90" fmla="*/ 836475 w 2535"/>
                <a:gd name="T91" fmla="*/ 83395 h 985"/>
                <a:gd name="T92" fmla="*/ 826033 w 2535"/>
                <a:gd name="T93" fmla="*/ 93142 h 985"/>
                <a:gd name="T94" fmla="*/ 790745 w 2535"/>
                <a:gd name="T95" fmla="*/ 124189 h 985"/>
                <a:gd name="T96" fmla="*/ 796866 w 2535"/>
                <a:gd name="T97" fmla="*/ 124189 h 985"/>
                <a:gd name="T98" fmla="*/ 838276 w 2535"/>
                <a:gd name="T99" fmla="*/ 123467 h 985"/>
                <a:gd name="T100" fmla="*/ 827473 w 2535"/>
                <a:gd name="T101" fmla="*/ 153070 h 985"/>
                <a:gd name="T102" fmla="*/ 831074 w 2535"/>
                <a:gd name="T103" fmla="*/ 181230 h 985"/>
                <a:gd name="T104" fmla="*/ 902731 w 2535"/>
                <a:gd name="T105" fmla="*/ 170399 h 985"/>
                <a:gd name="T106" fmla="*/ 912453 w 2535"/>
                <a:gd name="T107" fmla="*/ 183035 h 98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535"/>
                <a:gd name="T163" fmla="*/ 0 h 985"/>
                <a:gd name="T164" fmla="*/ 2535 w 2535"/>
                <a:gd name="T165" fmla="*/ 985 h 98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535" h="985" extrusionOk="0">
                  <a:moveTo>
                    <a:pt x="808" y="848"/>
                  </a:moveTo>
                  <a:cubicBezTo>
                    <a:pt x="840" y="827"/>
                    <a:pt x="862" y="811"/>
                    <a:pt x="900" y="806"/>
                  </a:cubicBezTo>
                  <a:cubicBezTo>
                    <a:pt x="957" y="798"/>
                    <a:pt x="1010" y="790"/>
                    <a:pt x="1065" y="770"/>
                  </a:cubicBezTo>
                  <a:cubicBezTo>
                    <a:pt x="1084" y="763"/>
                    <a:pt x="1134" y="739"/>
                    <a:pt x="1155" y="745"/>
                  </a:cubicBezTo>
                  <a:cubicBezTo>
                    <a:pt x="1214" y="762"/>
                    <a:pt x="1145" y="767"/>
                    <a:pt x="1138" y="786"/>
                  </a:cubicBezTo>
                  <a:cubicBezTo>
                    <a:pt x="1143" y="783"/>
                    <a:pt x="1148" y="781"/>
                    <a:pt x="1153" y="778"/>
                  </a:cubicBezTo>
                  <a:cubicBezTo>
                    <a:pt x="1159" y="780"/>
                    <a:pt x="1164" y="781"/>
                    <a:pt x="1170" y="783"/>
                  </a:cubicBezTo>
                  <a:cubicBezTo>
                    <a:pt x="1181" y="824"/>
                    <a:pt x="1184" y="866"/>
                    <a:pt x="1195" y="907"/>
                  </a:cubicBezTo>
                  <a:cubicBezTo>
                    <a:pt x="1220" y="891"/>
                    <a:pt x="1229" y="882"/>
                    <a:pt x="1251" y="851"/>
                  </a:cubicBezTo>
                  <a:cubicBezTo>
                    <a:pt x="1272" y="822"/>
                    <a:pt x="1320" y="810"/>
                    <a:pt x="1351" y="794"/>
                  </a:cubicBezTo>
                  <a:cubicBezTo>
                    <a:pt x="1394" y="772"/>
                    <a:pt x="1440" y="749"/>
                    <a:pt x="1489" y="743"/>
                  </a:cubicBezTo>
                  <a:cubicBezTo>
                    <a:pt x="1518" y="739"/>
                    <a:pt x="1548" y="744"/>
                    <a:pt x="1576" y="733"/>
                  </a:cubicBezTo>
                  <a:cubicBezTo>
                    <a:pt x="1582" y="730"/>
                    <a:pt x="1587" y="726"/>
                    <a:pt x="1593" y="723"/>
                  </a:cubicBezTo>
                  <a:cubicBezTo>
                    <a:pt x="1579" y="705"/>
                    <a:pt x="1554" y="676"/>
                    <a:pt x="1539" y="650"/>
                  </a:cubicBezTo>
                  <a:cubicBezTo>
                    <a:pt x="1508" y="596"/>
                    <a:pt x="1481" y="516"/>
                    <a:pt x="1506" y="454"/>
                  </a:cubicBezTo>
                  <a:cubicBezTo>
                    <a:pt x="1519" y="422"/>
                    <a:pt x="1577" y="378"/>
                    <a:pt x="1608" y="392"/>
                  </a:cubicBezTo>
                  <a:cubicBezTo>
                    <a:pt x="1629" y="401"/>
                    <a:pt x="1685" y="481"/>
                    <a:pt x="1691" y="505"/>
                  </a:cubicBezTo>
                  <a:cubicBezTo>
                    <a:pt x="1699" y="534"/>
                    <a:pt x="1696" y="568"/>
                    <a:pt x="1696" y="597"/>
                  </a:cubicBezTo>
                  <a:cubicBezTo>
                    <a:pt x="1696" y="646"/>
                    <a:pt x="1702" y="669"/>
                    <a:pt x="1721" y="710"/>
                  </a:cubicBezTo>
                </a:path>
                <a:path w="2535" h="985" extrusionOk="0">
                  <a:moveTo>
                    <a:pt x="17" y="967"/>
                  </a:moveTo>
                  <a:cubicBezTo>
                    <a:pt x="41" y="946"/>
                    <a:pt x="25" y="952"/>
                    <a:pt x="57" y="949"/>
                  </a:cubicBezTo>
                  <a:cubicBezTo>
                    <a:pt x="124" y="944"/>
                    <a:pt x="193" y="959"/>
                    <a:pt x="260" y="959"/>
                  </a:cubicBezTo>
                  <a:cubicBezTo>
                    <a:pt x="525" y="957"/>
                    <a:pt x="789" y="853"/>
                    <a:pt x="1041" y="783"/>
                  </a:cubicBezTo>
                  <a:cubicBezTo>
                    <a:pt x="1208" y="737"/>
                    <a:pt x="1366" y="705"/>
                    <a:pt x="1539" y="716"/>
                  </a:cubicBezTo>
                  <a:cubicBezTo>
                    <a:pt x="1684" y="725"/>
                    <a:pt x="1812" y="752"/>
                    <a:pt x="1954" y="710"/>
                  </a:cubicBezTo>
                  <a:cubicBezTo>
                    <a:pt x="2031" y="687"/>
                    <a:pt x="2099" y="651"/>
                    <a:pt x="2169" y="612"/>
                  </a:cubicBezTo>
                  <a:cubicBezTo>
                    <a:pt x="2115" y="628"/>
                    <a:pt x="2151" y="619"/>
                    <a:pt x="2113" y="612"/>
                  </a:cubicBezTo>
                </a:path>
                <a:path w="2535" h="985" extrusionOk="0">
                  <a:moveTo>
                    <a:pt x="1726" y="492"/>
                  </a:moveTo>
                  <a:cubicBezTo>
                    <a:pt x="1760" y="488"/>
                    <a:pt x="1787" y="473"/>
                    <a:pt x="1818" y="455"/>
                  </a:cubicBezTo>
                  <a:cubicBezTo>
                    <a:pt x="1851" y="435"/>
                    <a:pt x="1883" y="415"/>
                    <a:pt x="1916" y="394"/>
                  </a:cubicBezTo>
                  <a:cubicBezTo>
                    <a:pt x="1937" y="380"/>
                    <a:pt x="1958" y="366"/>
                    <a:pt x="1979" y="352"/>
                  </a:cubicBezTo>
                </a:path>
                <a:path w="2535" h="985" extrusionOk="0">
                  <a:moveTo>
                    <a:pt x="1714" y="673"/>
                  </a:moveTo>
                  <a:cubicBezTo>
                    <a:pt x="1709" y="679"/>
                    <a:pt x="1703" y="685"/>
                    <a:pt x="1698" y="691"/>
                  </a:cubicBezTo>
                  <a:cubicBezTo>
                    <a:pt x="1712" y="661"/>
                    <a:pt x="1729" y="638"/>
                    <a:pt x="1761" y="623"/>
                  </a:cubicBezTo>
                  <a:cubicBezTo>
                    <a:pt x="1792" y="609"/>
                    <a:pt x="1826" y="600"/>
                    <a:pt x="1858" y="590"/>
                  </a:cubicBezTo>
                  <a:cubicBezTo>
                    <a:pt x="1901" y="576"/>
                    <a:pt x="1946" y="558"/>
                    <a:pt x="1986" y="537"/>
                  </a:cubicBezTo>
                  <a:cubicBezTo>
                    <a:pt x="2015" y="522"/>
                    <a:pt x="2049" y="490"/>
                    <a:pt x="2079" y="480"/>
                  </a:cubicBezTo>
                  <a:cubicBezTo>
                    <a:pt x="2085" y="480"/>
                    <a:pt x="2090" y="480"/>
                    <a:pt x="2096" y="480"/>
                  </a:cubicBezTo>
                </a:path>
                <a:path w="2535" h="985" extrusionOk="0">
                  <a:moveTo>
                    <a:pt x="2068" y="85"/>
                  </a:moveTo>
                  <a:cubicBezTo>
                    <a:pt x="2091" y="67"/>
                    <a:pt x="2120" y="48"/>
                    <a:pt x="2146" y="37"/>
                  </a:cubicBezTo>
                  <a:cubicBezTo>
                    <a:pt x="2176" y="25"/>
                    <a:pt x="2211" y="9"/>
                    <a:pt x="2243" y="2"/>
                  </a:cubicBezTo>
                  <a:cubicBezTo>
                    <a:pt x="2273" y="-5"/>
                    <a:pt x="2315" y="-6"/>
                    <a:pt x="2309" y="35"/>
                  </a:cubicBezTo>
                  <a:cubicBezTo>
                    <a:pt x="2306" y="56"/>
                    <a:pt x="2278" y="82"/>
                    <a:pt x="2266" y="98"/>
                  </a:cubicBezTo>
                </a:path>
                <a:path w="2535" h="985" extrusionOk="0">
                  <a:moveTo>
                    <a:pt x="2141" y="244"/>
                  </a:moveTo>
                  <a:cubicBezTo>
                    <a:pt x="2176" y="246"/>
                    <a:pt x="2207" y="242"/>
                    <a:pt x="2241" y="239"/>
                  </a:cubicBezTo>
                  <a:cubicBezTo>
                    <a:pt x="2246" y="239"/>
                    <a:pt x="2323" y="229"/>
                    <a:pt x="2323" y="231"/>
                  </a:cubicBezTo>
                  <a:cubicBezTo>
                    <a:pt x="2311" y="250"/>
                    <a:pt x="2309" y="256"/>
                    <a:pt x="2294" y="258"/>
                  </a:cubicBezTo>
                </a:path>
                <a:path w="2535" h="985" extrusionOk="0">
                  <a:moveTo>
                    <a:pt x="2196" y="344"/>
                  </a:moveTo>
                  <a:cubicBezTo>
                    <a:pt x="2202" y="344"/>
                    <a:pt x="2207" y="344"/>
                    <a:pt x="2213" y="344"/>
                  </a:cubicBezTo>
                </a:path>
                <a:path w="2535" h="985" extrusionOk="0">
                  <a:moveTo>
                    <a:pt x="2328" y="342"/>
                  </a:moveTo>
                  <a:cubicBezTo>
                    <a:pt x="2325" y="377"/>
                    <a:pt x="2308" y="393"/>
                    <a:pt x="2298" y="424"/>
                  </a:cubicBezTo>
                  <a:cubicBezTo>
                    <a:pt x="2291" y="447"/>
                    <a:pt x="2302" y="480"/>
                    <a:pt x="2308" y="502"/>
                  </a:cubicBezTo>
                </a:path>
                <a:path w="2535" h="985" extrusionOk="0">
                  <a:moveTo>
                    <a:pt x="2507" y="472"/>
                  </a:moveTo>
                  <a:cubicBezTo>
                    <a:pt x="2524" y="488"/>
                    <a:pt x="2529" y="492"/>
                    <a:pt x="2534" y="507"/>
                  </a:cubicBezTo>
                </a:path>
              </a:pathLst>
            </a:custGeom>
            <a:noFill/>
            <a:ln w="19050" cap="rnd">
              <a:solidFill>
                <a:schemeClr val="tx1"/>
              </a:solidFill>
              <a:round/>
              <a:headEnd/>
              <a:tailEnd/>
            </a:ln>
          </p:spPr>
          <p:txBody>
            <a:bodyPr>
              <a:prstTxWarp prst="textNoShape">
                <a:avLst/>
              </a:prstTxWarp>
            </a:bodyPr>
            <a:lstStyle/>
            <a:p>
              <a:endParaRPr lang="en-US"/>
            </a:p>
          </p:txBody>
        </p:sp>
        <p:sp>
          <p:nvSpPr>
            <p:cNvPr id="40973" name="Freeform 19"/>
            <p:cNvSpPr>
              <a:spLocks noRot="1" noChangeAspect="1" noEditPoints="1" noChangeArrowheads="1" noChangeShapeType="1" noTextEdit="1"/>
            </p:cNvSpPr>
            <p:nvPr/>
          </p:nvSpPr>
          <p:spPr bwMode="auto">
            <a:xfrm>
              <a:off x="6115050" y="1120775"/>
              <a:ext cx="2012950" cy="2706688"/>
            </a:xfrm>
            <a:custGeom>
              <a:avLst/>
              <a:gdLst>
                <a:gd name="T0" fmla="*/ 796035 w 5591"/>
                <a:gd name="T1" fmla="*/ 1893109 h 9292"/>
                <a:gd name="T2" fmla="*/ 676144 w 5591"/>
                <a:gd name="T3" fmla="*/ 1415098 h 9292"/>
                <a:gd name="T4" fmla="*/ 1231676 w 5591"/>
                <a:gd name="T5" fmla="*/ 1330041 h 9292"/>
                <a:gd name="T6" fmla="*/ 1081182 w 5591"/>
                <a:gd name="T7" fmla="*/ 1613177 h 9292"/>
                <a:gd name="T8" fmla="*/ 1093783 w 5591"/>
                <a:gd name="T9" fmla="*/ 1693573 h 9292"/>
                <a:gd name="T10" fmla="*/ 793875 w 5591"/>
                <a:gd name="T11" fmla="*/ 1877379 h 9292"/>
                <a:gd name="T12" fmla="*/ 1082262 w 5591"/>
                <a:gd name="T13" fmla="*/ 1804264 h 9292"/>
                <a:gd name="T14" fmla="*/ 799275 w 5591"/>
                <a:gd name="T15" fmla="*/ 1935929 h 9292"/>
                <a:gd name="T16" fmla="*/ 1023577 w 5591"/>
                <a:gd name="T17" fmla="*/ 1941754 h 9292"/>
                <a:gd name="T18" fmla="*/ 824478 w 5591"/>
                <a:gd name="T19" fmla="*/ 2047494 h 9292"/>
                <a:gd name="T20" fmla="*/ 911966 w 5591"/>
                <a:gd name="T21" fmla="*/ 2079827 h 9292"/>
                <a:gd name="T22" fmla="*/ 889644 w 5591"/>
                <a:gd name="T23" fmla="*/ 2029142 h 9292"/>
                <a:gd name="T24" fmla="*/ 847160 w 5591"/>
                <a:gd name="T25" fmla="*/ 1456753 h 9292"/>
                <a:gd name="T26" fmla="*/ 964171 w 5591"/>
                <a:gd name="T27" fmla="*/ 1431993 h 9292"/>
                <a:gd name="T28" fmla="*/ 1060660 w 5591"/>
                <a:gd name="T29" fmla="*/ 1439858 h 9292"/>
                <a:gd name="T30" fmla="*/ 787034 w 5591"/>
                <a:gd name="T31" fmla="*/ 507431 h 9292"/>
                <a:gd name="T32" fmla="*/ 947969 w 5591"/>
                <a:gd name="T33" fmla="*/ 844456 h 9292"/>
                <a:gd name="T34" fmla="*/ 1290002 w 5591"/>
                <a:gd name="T35" fmla="*/ 656573 h 9292"/>
                <a:gd name="T36" fmla="*/ 1172991 w 5591"/>
                <a:gd name="T37" fmla="*/ 921940 h 9292"/>
                <a:gd name="T38" fmla="*/ 1745805 w 5591"/>
                <a:gd name="T39" fmla="*/ 1013406 h 9292"/>
                <a:gd name="T40" fmla="*/ 1470379 w 5591"/>
                <a:gd name="T41" fmla="*/ 1210902 h 9292"/>
                <a:gd name="T42" fmla="*/ 1567588 w 5591"/>
                <a:gd name="T43" fmla="*/ 1322176 h 9292"/>
                <a:gd name="T44" fmla="*/ 1723123 w 5591"/>
                <a:gd name="T45" fmla="*/ 1465492 h 9292"/>
                <a:gd name="T46" fmla="*/ 1427175 w 5591"/>
                <a:gd name="T47" fmla="*/ 1545014 h 9292"/>
                <a:gd name="T48" fmla="*/ 1514663 w 5591"/>
                <a:gd name="T49" fmla="*/ 1782126 h 9292"/>
                <a:gd name="T50" fmla="*/ 1285681 w 5591"/>
                <a:gd name="T51" fmla="*/ 1771057 h 9292"/>
                <a:gd name="T52" fmla="*/ 597656 w 5591"/>
                <a:gd name="T53" fmla="*/ 1287803 h 9292"/>
                <a:gd name="T54" fmla="*/ 429521 w 5591"/>
                <a:gd name="T55" fmla="*/ 1420924 h 9292"/>
                <a:gd name="T56" fmla="*/ 501167 w 5591"/>
                <a:gd name="T57" fmla="*/ 1637354 h 9292"/>
                <a:gd name="T58" fmla="*/ 472365 w 5591"/>
                <a:gd name="T59" fmla="*/ 1760279 h 9292"/>
                <a:gd name="T60" fmla="*/ 472365 w 5591"/>
                <a:gd name="T61" fmla="*/ 1965932 h 9292"/>
                <a:gd name="T62" fmla="*/ 526370 w 5591"/>
                <a:gd name="T63" fmla="*/ 2048367 h 9292"/>
                <a:gd name="T64" fmla="*/ 199459 w 5591"/>
                <a:gd name="T65" fmla="*/ 2301209 h 9292"/>
                <a:gd name="T66" fmla="*/ 1668397 w 5591"/>
                <a:gd name="T67" fmla="*/ 2013121 h 9292"/>
                <a:gd name="T68" fmla="*/ 1642475 w 5591"/>
                <a:gd name="T69" fmla="*/ 2029433 h 9292"/>
                <a:gd name="T70" fmla="*/ 1679919 w 5591"/>
                <a:gd name="T71" fmla="*/ 1936511 h 9292"/>
                <a:gd name="T72" fmla="*/ 1853095 w 5591"/>
                <a:gd name="T73" fmla="*/ 1893109 h 9292"/>
                <a:gd name="T74" fmla="*/ 1861376 w 5591"/>
                <a:gd name="T75" fmla="*/ 2054193 h 9292"/>
                <a:gd name="T76" fmla="*/ 1845174 w 5591"/>
                <a:gd name="T77" fmla="*/ 2186731 h 9292"/>
                <a:gd name="T78" fmla="*/ 129612 w 5591"/>
                <a:gd name="T79" fmla="*/ 2590462 h 9292"/>
                <a:gd name="T80" fmla="*/ 1529784 w 5591"/>
                <a:gd name="T81" fmla="*/ 365572 h 9292"/>
                <a:gd name="T82" fmla="*/ 300628 w 5591"/>
                <a:gd name="T83" fmla="*/ 833096 h 9292"/>
                <a:gd name="T84" fmla="*/ 141853 w 5591"/>
                <a:gd name="T85" fmla="*/ 801636 h 9292"/>
                <a:gd name="T86" fmla="*/ 84248 w 5591"/>
                <a:gd name="T87" fmla="*/ 910580 h 9292"/>
                <a:gd name="T88" fmla="*/ 225741 w 5591"/>
                <a:gd name="T89" fmla="*/ 1027971 h 9292"/>
                <a:gd name="T90" fmla="*/ 163455 w 5591"/>
                <a:gd name="T91" fmla="*/ 1084481 h 9292"/>
                <a:gd name="T92" fmla="*/ 452923 w 5591"/>
                <a:gd name="T93" fmla="*/ 876790 h 9292"/>
                <a:gd name="T94" fmla="*/ 514129 w 5591"/>
                <a:gd name="T95" fmla="*/ 843291 h 9292"/>
                <a:gd name="T96" fmla="*/ 412239 w 5591"/>
                <a:gd name="T97" fmla="*/ 795519 h 9292"/>
                <a:gd name="T98" fmla="*/ 312870 w 5591"/>
                <a:gd name="T99" fmla="*/ 408101 h 9292"/>
                <a:gd name="T100" fmla="*/ 1971906 w 5591"/>
                <a:gd name="T101" fmla="*/ 794937 h 929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591"/>
                <a:gd name="T154" fmla="*/ 0 h 9292"/>
                <a:gd name="T155" fmla="*/ 5591 w 5591"/>
                <a:gd name="T156" fmla="*/ 9292 h 929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591" h="9292" extrusionOk="0">
                  <a:moveTo>
                    <a:pt x="2321" y="5880"/>
                  </a:moveTo>
                  <a:cubicBezTo>
                    <a:pt x="2286" y="5869"/>
                    <a:pt x="2268" y="5892"/>
                    <a:pt x="2255" y="5928"/>
                  </a:cubicBezTo>
                  <a:cubicBezTo>
                    <a:pt x="2230" y="5998"/>
                    <a:pt x="2226" y="6080"/>
                    <a:pt x="2221" y="6153"/>
                  </a:cubicBezTo>
                  <a:cubicBezTo>
                    <a:pt x="2214" y="6268"/>
                    <a:pt x="2217" y="6384"/>
                    <a:pt x="2211" y="6499"/>
                  </a:cubicBezTo>
                  <a:cubicBezTo>
                    <a:pt x="2207" y="6584"/>
                    <a:pt x="2204" y="6668"/>
                    <a:pt x="2201" y="6753"/>
                  </a:cubicBezTo>
                </a:path>
                <a:path w="5591" h="9292" extrusionOk="0">
                  <a:moveTo>
                    <a:pt x="2270" y="5784"/>
                  </a:moveTo>
                  <a:cubicBezTo>
                    <a:pt x="2222" y="5783"/>
                    <a:pt x="2213" y="5811"/>
                    <a:pt x="2161" y="5771"/>
                  </a:cubicBezTo>
                  <a:cubicBezTo>
                    <a:pt x="1932" y="5597"/>
                    <a:pt x="1847" y="5113"/>
                    <a:pt x="1878" y="4858"/>
                  </a:cubicBezTo>
                  <a:cubicBezTo>
                    <a:pt x="1911" y="4585"/>
                    <a:pt x="2060" y="4350"/>
                    <a:pt x="2243" y="4152"/>
                  </a:cubicBezTo>
                  <a:cubicBezTo>
                    <a:pt x="2383" y="4000"/>
                    <a:pt x="2565" y="3848"/>
                    <a:pt x="2765" y="3784"/>
                  </a:cubicBezTo>
                  <a:cubicBezTo>
                    <a:pt x="2923" y="3733"/>
                    <a:pt x="3067" y="3779"/>
                    <a:pt x="3173" y="3904"/>
                  </a:cubicBezTo>
                  <a:cubicBezTo>
                    <a:pt x="3324" y="4081"/>
                    <a:pt x="3381" y="4344"/>
                    <a:pt x="3421" y="4566"/>
                  </a:cubicBezTo>
                  <a:cubicBezTo>
                    <a:pt x="3451" y="4734"/>
                    <a:pt x="3467" y="4905"/>
                    <a:pt x="3444" y="5074"/>
                  </a:cubicBezTo>
                  <a:cubicBezTo>
                    <a:pt x="3422" y="5236"/>
                    <a:pt x="3358" y="5428"/>
                    <a:pt x="3198" y="5500"/>
                  </a:cubicBezTo>
                  <a:cubicBezTo>
                    <a:pt x="3148" y="5523"/>
                    <a:pt x="3099" y="5521"/>
                    <a:pt x="3046" y="5526"/>
                  </a:cubicBezTo>
                  <a:cubicBezTo>
                    <a:pt x="2991" y="5531"/>
                    <a:pt x="2988" y="5513"/>
                    <a:pt x="3003" y="5538"/>
                  </a:cubicBezTo>
                  <a:cubicBezTo>
                    <a:pt x="3011" y="5552"/>
                    <a:pt x="3047" y="5582"/>
                    <a:pt x="3061" y="5599"/>
                  </a:cubicBezTo>
                </a:path>
                <a:path w="5591" h="9292" extrusionOk="0">
                  <a:moveTo>
                    <a:pt x="3079" y="5737"/>
                  </a:moveTo>
                  <a:cubicBezTo>
                    <a:pt x="3083" y="5717"/>
                    <a:pt x="3084" y="5710"/>
                    <a:pt x="3073" y="5699"/>
                  </a:cubicBezTo>
                  <a:cubicBezTo>
                    <a:pt x="3053" y="5736"/>
                    <a:pt x="3048" y="5772"/>
                    <a:pt x="3038" y="5814"/>
                  </a:cubicBezTo>
                  <a:cubicBezTo>
                    <a:pt x="3014" y="5916"/>
                    <a:pt x="2992" y="6018"/>
                    <a:pt x="2968" y="6120"/>
                  </a:cubicBezTo>
                  <a:cubicBezTo>
                    <a:pt x="2937" y="6254"/>
                    <a:pt x="2907" y="6387"/>
                    <a:pt x="2883" y="6522"/>
                  </a:cubicBezTo>
                  <a:cubicBezTo>
                    <a:pt x="2882" y="6525"/>
                    <a:pt x="2861" y="6613"/>
                    <a:pt x="2883" y="6555"/>
                  </a:cubicBezTo>
                </a:path>
                <a:path w="5591" h="9292" extrusionOk="0">
                  <a:moveTo>
                    <a:pt x="2205" y="6445"/>
                  </a:moveTo>
                  <a:cubicBezTo>
                    <a:pt x="2196" y="6447"/>
                    <a:pt x="2187" y="6450"/>
                    <a:pt x="2178" y="6452"/>
                  </a:cubicBezTo>
                  <a:cubicBezTo>
                    <a:pt x="2107" y="6499"/>
                    <a:pt x="2180" y="6459"/>
                    <a:pt x="2216" y="6442"/>
                  </a:cubicBezTo>
                  <a:cubicBezTo>
                    <a:pt x="2331" y="6386"/>
                    <a:pt x="2445" y="6327"/>
                    <a:pt x="2566" y="6282"/>
                  </a:cubicBezTo>
                  <a:cubicBezTo>
                    <a:pt x="2698" y="6233"/>
                    <a:pt x="2862" y="6169"/>
                    <a:pt x="3006" y="6194"/>
                  </a:cubicBezTo>
                  <a:cubicBezTo>
                    <a:pt x="3045" y="6208"/>
                    <a:pt x="3056" y="6210"/>
                    <a:pt x="3074" y="6231"/>
                  </a:cubicBezTo>
                  <a:cubicBezTo>
                    <a:pt x="3072" y="6283"/>
                    <a:pt x="3081" y="6300"/>
                    <a:pt x="3026" y="6339"/>
                  </a:cubicBezTo>
                  <a:cubicBezTo>
                    <a:pt x="2926" y="6409"/>
                    <a:pt x="2799" y="6442"/>
                    <a:pt x="2685" y="6480"/>
                  </a:cubicBezTo>
                  <a:cubicBezTo>
                    <a:pt x="2529" y="6532"/>
                    <a:pt x="2373" y="6584"/>
                    <a:pt x="2220" y="6646"/>
                  </a:cubicBezTo>
                  <a:cubicBezTo>
                    <a:pt x="2277" y="6635"/>
                    <a:pt x="2335" y="6620"/>
                    <a:pt x="2393" y="6607"/>
                  </a:cubicBezTo>
                  <a:cubicBezTo>
                    <a:pt x="2486" y="6587"/>
                    <a:pt x="2580" y="6576"/>
                    <a:pt x="2675" y="6583"/>
                  </a:cubicBezTo>
                  <a:cubicBezTo>
                    <a:pt x="2725" y="6587"/>
                    <a:pt x="2797" y="6598"/>
                    <a:pt x="2831" y="6641"/>
                  </a:cubicBezTo>
                  <a:cubicBezTo>
                    <a:pt x="2835" y="6649"/>
                    <a:pt x="2839" y="6658"/>
                    <a:pt x="2843" y="6666"/>
                  </a:cubicBezTo>
                  <a:cubicBezTo>
                    <a:pt x="2821" y="6717"/>
                    <a:pt x="2814" y="6738"/>
                    <a:pt x="2763" y="6771"/>
                  </a:cubicBezTo>
                  <a:cubicBezTo>
                    <a:pt x="2660" y="6838"/>
                    <a:pt x="2546" y="6874"/>
                    <a:pt x="2431" y="6912"/>
                  </a:cubicBezTo>
                  <a:cubicBezTo>
                    <a:pt x="2343" y="6941"/>
                    <a:pt x="2255" y="6968"/>
                    <a:pt x="2168" y="7000"/>
                  </a:cubicBezTo>
                  <a:cubicBezTo>
                    <a:pt x="2206" y="7017"/>
                    <a:pt x="2239" y="7026"/>
                    <a:pt x="2290" y="7029"/>
                  </a:cubicBezTo>
                  <a:cubicBezTo>
                    <a:pt x="2357" y="7032"/>
                    <a:pt x="2423" y="7035"/>
                    <a:pt x="2490" y="7042"/>
                  </a:cubicBezTo>
                  <a:cubicBezTo>
                    <a:pt x="2530" y="7046"/>
                    <a:pt x="2576" y="7048"/>
                    <a:pt x="2613" y="7065"/>
                  </a:cubicBezTo>
                  <a:cubicBezTo>
                    <a:pt x="2619" y="7070"/>
                    <a:pt x="2625" y="7075"/>
                    <a:pt x="2631" y="7080"/>
                  </a:cubicBezTo>
                  <a:cubicBezTo>
                    <a:pt x="2598" y="7110"/>
                    <a:pt x="2580" y="7124"/>
                    <a:pt x="2533" y="7140"/>
                  </a:cubicBezTo>
                  <a:cubicBezTo>
                    <a:pt x="2471" y="7161"/>
                    <a:pt x="2408" y="7178"/>
                    <a:pt x="2346" y="7197"/>
                  </a:cubicBezTo>
                  <a:cubicBezTo>
                    <a:pt x="2314" y="7206"/>
                    <a:pt x="2307" y="7210"/>
                    <a:pt x="2286" y="7205"/>
                  </a:cubicBezTo>
                  <a:cubicBezTo>
                    <a:pt x="2302" y="7137"/>
                    <a:pt x="2365" y="7097"/>
                    <a:pt x="2413" y="7040"/>
                  </a:cubicBezTo>
                  <a:cubicBezTo>
                    <a:pt x="2432" y="7015"/>
                    <a:pt x="2452" y="6991"/>
                    <a:pt x="2471" y="6966"/>
                  </a:cubicBezTo>
                </a:path>
                <a:path w="5591" h="9292" extrusionOk="0">
                  <a:moveTo>
                    <a:pt x="2566" y="6060"/>
                  </a:moveTo>
                  <a:cubicBezTo>
                    <a:pt x="2563" y="6067"/>
                    <a:pt x="2559" y="6073"/>
                    <a:pt x="2556" y="6080"/>
                  </a:cubicBezTo>
                  <a:cubicBezTo>
                    <a:pt x="2535" y="6047"/>
                    <a:pt x="2528" y="6029"/>
                    <a:pt x="2523" y="5982"/>
                  </a:cubicBezTo>
                  <a:cubicBezTo>
                    <a:pt x="2486" y="5649"/>
                    <a:pt x="2410" y="5329"/>
                    <a:pt x="2353" y="5001"/>
                  </a:cubicBezTo>
                  <a:cubicBezTo>
                    <a:pt x="2350" y="4985"/>
                    <a:pt x="2349" y="4980"/>
                    <a:pt x="2348" y="4969"/>
                  </a:cubicBezTo>
                  <a:cubicBezTo>
                    <a:pt x="2350" y="5027"/>
                    <a:pt x="2360" y="5071"/>
                    <a:pt x="2403" y="5116"/>
                  </a:cubicBezTo>
                  <a:cubicBezTo>
                    <a:pt x="2446" y="5160"/>
                    <a:pt x="2500" y="5153"/>
                    <a:pt x="2546" y="5116"/>
                  </a:cubicBezTo>
                  <a:cubicBezTo>
                    <a:pt x="2608" y="5066"/>
                    <a:pt x="2652" y="4990"/>
                    <a:pt x="2678" y="4916"/>
                  </a:cubicBezTo>
                  <a:cubicBezTo>
                    <a:pt x="2688" y="4886"/>
                    <a:pt x="2689" y="4859"/>
                    <a:pt x="2693" y="4828"/>
                  </a:cubicBezTo>
                  <a:cubicBezTo>
                    <a:pt x="2717" y="4858"/>
                    <a:pt x="2713" y="4869"/>
                    <a:pt x="2760" y="4886"/>
                  </a:cubicBezTo>
                  <a:cubicBezTo>
                    <a:pt x="2807" y="4904"/>
                    <a:pt x="2858" y="4901"/>
                    <a:pt x="2905" y="4921"/>
                  </a:cubicBezTo>
                  <a:cubicBezTo>
                    <a:pt x="2925" y="4933"/>
                    <a:pt x="2932" y="4936"/>
                    <a:pt x="2946" y="4943"/>
                  </a:cubicBezTo>
                </a:path>
                <a:path w="5591" h="9292" extrusionOk="0">
                  <a:moveTo>
                    <a:pt x="1986" y="3514"/>
                  </a:moveTo>
                  <a:cubicBezTo>
                    <a:pt x="1963" y="3544"/>
                    <a:pt x="1962" y="3567"/>
                    <a:pt x="1971" y="3497"/>
                  </a:cubicBezTo>
                  <a:cubicBezTo>
                    <a:pt x="1985" y="3394"/>
                    <a:pt x="2004" y="3290"/>
                    <a:pt x="2016" y="3186"/>
                  </a:cubicBezTo>
                  <a:cubicBezTo>
                    <a:pt x="2069" y="2712"/>
                    <a:pt x="2061" y="2204"/>
                    <a:pt x="2186" y="1742"/>
                  </a:cubicBezTo>
                  <a:cubicBezTo>
                    <a:pt x="2227" y="1855"/>
                    <a:pt x="2234" y="1972"/>
                    <a:pt x="2256" y="2091"/>
                  </a:cubicBezTo>
                  <a:cubicBezTo>
                    <a:pt x="2286" y="2254"/>
                    <a:pt x="2325" y="2415"/>
                    <a:pt x="2391" y="2568"/>
                  </a:cubicBezTo>
                  <a:cubicBezTo>
                    <a:pt x="2444" y="2691"/>
                    <a:pt x="2519" y="2795"/>
                    <a:pt x="2616" y="2885"/>
                  </a:cubicBezTo>
                  <a:cubicBezTo>
                    <a:pt x="2622" y="2890"/>
                    <a:pt x="2627" y="2894"/>
                    <a:pt x="2633" y="2899"/>
                  </a:cubicBezTo>
                </a:path>
                <a:path w="5591" h="9292" extrusionOk="0">
                  <a:moveTo>
                    <a:pt x="2755" y="2791"/>
                  </a:moveTo>
                  <a:cubicBezTo>
                    <a:pt x="2881" y="2678"/>
                    <a:pt x="3011" y="2574"/>
                    <a:pt x="3153" y="2481"/>
                  </a:cubicBezTo>
                  <a:cubicBezTo>
                    <a:pt x="3256" y="2414"/>
                    <a:pt x="3360" y="2342"/>
                    <a:pt x="3469" y="2285"/>
                  </a:cubicBezTo>
                  <a:cubicBezTo>
                    <a:pt x="3516" y="2260"/>
                    <a:pt x="3540" y="2262"/>
                    <a:pt x="3583" y="2254"/>
                  </a:cubicBezTo>
                  <a:cubicBezTo>
                    <a:pt x="3549" y="2316"/>
                    <a:pt x="3510" y="2369"/>
                    <a:pt x="3466" y="2427"/>
                  </a:cubicBezTo>
                  <a:cubicBezTo>
                    <a:pt x="3386" y="2532"/>
                    <a:pt x="3301" y="2637"/>
                    <a:pt x="3238" y="2754"/>
                  </a:cubicBezTo>
                  <a:cubicBezTo>
                    <a:pt x="3192" y="2840"/>
                    <a:pt x="3144" y="2942"/>
                    <a:pt x="3164" y="3043"/>
                  </a:cubicBezTo>
                  <a:cubicBezTo>
                    <a:pt x="3176" y="3104"/>
                    <a:pt x="3215" y="3129"/>
                    <a:pt x="3258" y="3165"/>
                  </a:cubicBezTo>
                </a:path>
                <a:path w="5591" h="9292" extrusionOk="0">
                  <a:moveTo>
                    <a:pt x="3756" y="3582"/>
                  </a:moveTo>
                  <a:cubicBezTo>
                    <a:pt x="3781" y="3605"/>
                    <a:pt x="3791" y="3608"/>
                    <a:pt x="3863" y="3597"/>
                  </a:cubicBezTo>
                  <a:cubicBezTo>
                    <a:pt x="4009" y="3575"/>
                    <a:pt x="4154" y="3549"/>
                    <a:pt x="4301" y="3530"/>
                  </a:cubicBezTo>
                  <a:cubicBezTo>
                    <a:pt x="4483" y="3506"/>
                    <a:pt x="4666" y="3483"/>
                    <a:pt x="4849" y="3479"/>
                  </a:cubicBezTo>
                  <a:cubicBezTo>
                    <a:pt x="4934" y="3477"/>
                    <a:pt x="5062" y="3472"/>
                    <a:pt x="5134" y="3530"/>
                  </a:cubicBezTo>
                  <a:cubicBezTo>
                    <a:pt x="5139" y="3538"/>
                    <a:pt x="5144" y="3547"/>
                    <a:pt x="5149" y="3555"/>
                  </a:cubicBezTo>
                  <a:cubicBezTo>
                    <a:pt x="5129" y="3632"/>
                    <a:pt x="5087" y="3664"/>
                    <a:pt x="5017" y="3705"/>
                  </a:cubicBezTo>
                  <a:cubicBezTo>
                    <a:pt x="4720" y="3879"/>
                    <a:pt x="4355" y="3941"/>
                    <a:pt x="4084" y="4157"/>
                  </a:cubicBezTo>
                  <a:cubicBezTo>
                    <a:pt x="4056" y="4181"/>
                    <a:pt x="4046" y="4187"/>
                    <a:pt x="4056" y="4215"/>
                  </a:cubicBezTo>
                  <a:cubicBezTo>
                    <a:pt x="4114" y="4231"/>
                    <a:pt x="4137" y="4229"/>
                    <a:pt x="4199" y="4222"/>
                  </a:cubicBezTo>
                </a:path>
                <a:path w="5591" h="9292" extrusionOk="0">
                  <a:moveTo>
                    <a:pt x="4251" y="4478"/>
                  </a:moveTo>
                  <a:cubicBezTo>
                    <a:pt x="4277" y="4505"/>
                    <a:pt x="4303" y="4521"/>
                    <a:pt x="4354" y="4539"/>
                  </a:cubicBezTo>
                  <a:cubicBezTo>
                    <a:pt x="4449" y="4572"/>
                    <a:pt x="4549" y="4591"/>
                    <a:pt x="4646" y="4620"/>
                  </a:cubicBezTo>
                  <a:cubicBezTo>
                    <a:pt x="4735" y="4646"/>
                    <a:pt x="4829" y="4675"/>
                    <a:pt x="4901" y="4737"/>
                  </a:cubicBezTo>
                  <a:cubicBezTo>
                    <a:pt x="4948" y="4777"/>
                    <a:pt x="4976" y="4838"/>
                    <a:pt x="4954" y="4898"/>
                  </a:cubicBezTo>
                  <a:cubicBezTo>
                    <a:pt x="4929" y="4966"/>
                    <a:pt x="4851" y="5010"/>
                    <a:pt x="4786" y="5031"/>
                  </a:cubicBezTo>
                  <a:cubicBezTo>
                    <a:pt x="4661" y="5071"/>
                    <a:pt x="4527" y="5085"/>
                    <a:pt x="4399" y="5112"/>
                  </a:cubicBezTo>
                  <a:cubicBezTo>
                    <a:pt x="4265" y="5140"/>
                    <a:pt x="4131" y="5172"/>
                    <a:pt x="4002" y="5219"/>
                  </a:cubicBezTo>
                  <a:cubicBezTo>
                    <a:pt x="3968" y="5231"/>
                    <a:pt x="3852" y="5267"/>
                    <a:pt x="3926" y="5300"/>
                  </a:cubicBezTo>
                  <a:cubicBezTo>
                    <a:pt x="3939" y="5301"/>
                    <a:pt x="3951" y="5303"/>
                    <a:pt x="3964" y="5304"/>
                  </a:cubicBezTo>
                </a:path>
                <a:path w="5591" h="9292" extrusionOk="0">
                  <a:moveTo>
                    <a:pt x="3864" y="5759"/>
                  </a:moveTo>
                  <a:cubicBezTo>
                    <a:pt x="3901" y="5758"/>
                    <a:pt x="3932" y="5763"/>
                    <a:pt x="3962" y="5787"/>
                  </a:cubicBezTo>
                  <a:cubicBezTo>
                    <a:pt x="4030" y="5840"/>
                    <a:pt x="4076" y="5917"/>
                    <a:pt x="4122" y="5988"/>
                  </a:cubicBezTo>
                  <a:cubicBezTo>
                    <a:pt x="4150" y="6031"/>
                    <a:pt x="4182" y="6073"/>
                    <a:pt x="4207" y="6118"/>
                  </a:cubicBezTo>
                  <a:cubicBezTo>
                    <a:pt x="4209" y="6124"/>
                    <a:pt x="4212" y="6129"/>
                    <a:pt x="4214" y="6135"/>
                  </a:cubicBezTo>
                  <a:cubicBezTo>
                    <a:pt x="4185" y="6173"/>
                    <a:pt x="4151" y="6172"/>
                    <a:pt x="4101" y="6174"/>
                  </a:cubicBezTo>
                  <a:cubicBezTo>
                    <a:pt x="4007" y="6177"/>
                    <a:pt x="3911" y="6172"/>
                    <a:pt x="3819" y="6158"/>
                  </a:cubicBezTo>
                  <a:cubicBezTo>
                    <a:pt x="3736" y="6146"/>
                    <a:pt x="3641" y="6129"/>
                    <a:pt x="3571" y="6080"/>
                  </a:cubicBezTo>
                  <a:cubicBezTo>
                    <a:pt x="3522" y="6045"/>
                    <a:pt x="3545" y="6010"/>
                    <a:pt x="3566" y="5967"/>
                  </a:cubicBezTo>
                </a:path>
                <a:path w="5591" h="9292" extrusionOk="0">
                  <a:moveTo>
                    <a:pt x="1713" y="4338"/>
                  </a:moveTo>
                  <a:cubicBezTo>
                    <a:pt x="1735" y="4336"/>
                    <a:pt x="1741" y="4335"/>
                    <a:pt x="1755" y="4340"/>
                  </a:cubicBezTo>
                  <a:cubicBezTo>
                    <a:pt x="1721" y="4365"/>
                    <a:pt x="1692" y="4393"/>
                    <a:pt x="1660" y="4421"/>
                  </a:cubicBezTo>
                  <a:cubicBezTo>
                    <a:pt x="1580" y="4491"/>
                    <a:pt x="1496" y="4554"/>
                    <a:pt x="1408" y="4614"/>
                  </a:cubicBezTo>
                  <a:cubicBezTo>
                    <a:pt x="1290" y="4695"/>
                    <a:pt x="1122" y="4749"/>
                    <a:pt x="1018" y="4846"/>
                  </a:cubicBezTo>
                  <a:cubicBezTo>
                    <a:pt x="1015" y="4852"/>
                    <a:pt x="1013" y="4857"/>
                    <a:pt x="1010" y="4863"/>
                  </a:cubicBezTo>
                  <a:cubicBezTo>
                    <a:pt x="1068" y="4886"/>
                    <a:pt x="1131" y="4882"/>
                    <a:pt x="1193" y="4878"/>
                  </a:cubicBezTo>
                  <a:cubicBezTo>
                    <a:pt x="1312" y="4871"/>
                    <a:pt x="1428" y="4852"/>
                    <a:pt x="1545" y="4838"/>
                  </a:cubicBezTo>
                  <a:cubicBezTo>
                    <a:pt x="1615" y="4830"/>
                    <a:pt x="1684" y="4823"/>
                    <a:pt x="1752" y="4841"/>
                  </a:cubicBezTo>
                </a:path>
                <a:path w="5591" h="9292" extrusionOk="0">
                  <a:moveTo>
                    <a:pt x="1518" y="5453"/>
                  </a:moveTo>
                  <a:cubicBezTo>
                    <a:pt x="1474" y="5507"/>
                    <a:pt x="1435" y="5565"/>
                    <a:pt x="1392" y="5621"/>
                  </a:cubicBezTo>
                  <a:cubicBezTo>
                    <a:pt x="1319" y="5715"/>
                    <a:pt x="1251" y="5812"/>
                    <a:pt x="1182" y="5909"/>
                  </a:cubicBezTo>
                  <a:cubicBezTo>
                    <a:pt x="1146" y="5959"/>
                    <a:pt x="1060" y="6045"/>
                    <a:pt x="1070" y="6115"/>
                  </a:cubicBezTo>
                  <a:cubicBezTo>
                    <a:pt x="1074" y="6120"/>
                    <a:pt x="1079" y="6126"/>
                    <a:pt x="1083" y="6131"/>
                  </a:cubicBezTo>
                  <a:cubicBezTo>
                    <a:pt x="1165" y="6116"/>
                    <a:pt x="1236" y="6079"/>
                    <a:pt x="1312" y="6043"/>
                  </a:cubicBezTo>
                  <a:cubicBezTo>
                    <a:pt x="1407" y="5998"/>
                    <a:pt x="1505" y="5958"/>
                    <a:pt x="1600" y="5913"/>
                  </a:cubicBezTo>
                  <a:cubicBezTo>
                    <a:pt x="1639" y="5894"/>
                    <a:pt x="1646" y="5896"/>
                    <a:pt x="1682" y="5890"/>
                  </a:cubicBezTo>
                </a:path>
                <a:path w="5591" h="9292" extrusionOk="0">
                  <a:moveTo>
                    <a:pt x="1310" y="6630"/>
                  </a:moveTo>
                  <a:cubicBezTo>
                    <a:pt x="1317" y="6671"/>
                    <a:pt x="1324" y="6708"/>
                    <a:pt x="1312" y="6749"/>
                  </a:cubicBezTo>
                  <a:cubicBezTo>
                    <a:pt x="1301" y="6786"/>
                    <a:pt x="1294" y="6820"/>
                    <a:pt x="1287" y="6859"/>
                  </a:cubicBezTo>
                  <a:cubicBezTo>
                    <a:pt x="1277" y="6919"/>
                    <a:pt x="1264" y="6979"/>
                    <a:pt x="1257" y="7040"/>
                  </a:cubicBezTo>
                  <a:cubicBezTo>
                    <a:pt x="1253" y="7072"/>
                    <a:pt x="1238" y="7133"/>
                    <a:pt x="1292" y="7122"/>
                  </a:cubicBezTo>
                  <a:cubicBezTo>
                    <a:pt x="1345" y="7111"/>
                    <a:pt x="1415" y="7057"/>
                    <a:pt x="1462" y="7032"/>
                  </a:cubicBezTo>
                  <a:cubicBezTo>
                    <a:pt x="1500" y="7012"/>
                    <a:pt x="1537" y="6995"/>
                    <a:pt x="1577" y="6979"/>
                  </a:cubicBezTo>
                </a:path>
                <a:path w="5591" h="9292" extrusionOk="0">
                  <a:moveTo>
                    <a:pt x="10" y="7170"/>
                  </a:moveTo>
                  <a:cubicBezTo>
                    <a:pt x="25" y="7204"/>
                    <a:pt x="17" y="7200"/>
                    <a:pt x="34" y="7233"/>
                  </a:cubicBezTo>
                  <a:cubicBezTo>
                    <a:pt x="161" y="7483"/>
                    <a:pt x="344" y="7714"/>
                    <a:pt x="554" y="7900"/>
                  </a:cubicBezTo>
                  <a:cubicBezTo>
                    <a:pt x="1293" y="8557"/>
                    <a:pt x="2299" y="8718"/>
                    <a:pt x="3238" y="8463"/>
                  </a:cubicBezTo>
                  <a:cubicBezTo>
                    <a:pt x="3794" y="8312"/>
                    <a:pt x="4577" y="7964"/>
                    <a:pt x="4802" y="7378"/>
                  </a:cubicBezTo>
                  <a:cubicBezTo>
                    <a:pt x="4900" y="7124"/>
                    <a:pt x="4749" y="7085"/>
                    <a:pt x="4636" y="6922"/>
                  </a:cubicBezTo>
                  <a:cubicBezTo>
                    <a:pt x="4607" y="6881"/>
                    <a:pt x="4566" y="6927"/>
                    <a:pt x="4634" y="6911"/>
                  </a:cubicBezTo>
                  <a:cubicBezTo>
                    <a:pt x="4666" y="6904"/>
                    <a:pt x="4703" y="6930"/>
                    <a:pt x="4734" y="6934"/>
                  </a:cubicBezTo>
                </a:path>
                <a:path w="5591" h="9292" extrusionOk="0">
                  <a:moveTo>
                    <a:pt x="4664" y="6931"/>
                  </a:moveTo>
                  <a:cubicBezTo>
                    <a:pt x="4681" y="6936"/>
                    <a:pt x="4699" y="6942"/>
                    <a:pt x="4716" y="6947"/>
                  </a:cubicBezTo>
                  <a:cubicBezTo>
                    <a:pt x="4665" y="6956"/>
                    <a:pt x="4614" y="6961"/>
                    <a:pt x="4562" y="6967"/>
                  </a:cubicBezTo>
                  <a:cubicBezTo>
                    <a:pt x="4456" y="6978"/>
                    <a:pt x="4354" y="7008"/>
                    <a:pt x="4249" y="7019"/>
                  </a:cubicBezTo>
                  <a:cubicBezTo>
                    <a:pt x="4243" y="7018"/>
                    <a:pt x="4238" y="7018"/>
                    <a:pt x="4232" y="7017"/>
                  </a:cubicBezTo>
                  <a:cubicBezTo>
                    <a:pt x="4280" y="6971"/>
                    <a:pt x="4330" y="6929"/>
                    <a:pt x="4382" y="6887"/>
                  </a:cubicBezTo>
                  <a:cubicBezTo>
                    <a:pt x="4478" y="6809"/>
                    <a:pt x="4576" y="6734"/>
                    <a:pt x="4666" y="6648"/>
                  </a:cubicBezTo>
                  <a:cubicBezTo>
                    <a:pt x="4779" y="6540"/>
                    <a:pt x="4889" y="6403"/>
                    <a:pt x="4936" y="6251"/>
                  </a:cubicBezTo>
                  <a:cubicBezTo>
                    <a:pt x="4949" y="6207"/>
                    <a:pt x="4946" y="6172"/>
                    <a:pt x="4942" y="6128"/>
                  </a:cubicBezTo>
                  <a:cubicBezTo>
                    <a:pt x="4970" y="6147"/>
                    <a:pt x="4984" y="6155"/>
                    <a:pt x="5009" y="6188"/>
                  </a:cubicBezTo>
                  <a:cubicBezTo>
                    <a:pt x="5075" y="6277"/>
                    <a:pt x="5103" y="6399"/>
                    <a:pt x="5147" y="6499"/>
                  </a:cubicBezTo>
                  <a:cubicBezTo>
                    <a:pt x="5234" y="6696"/>
                    <a:pt x="5350" y="6875"/>
                    <a:pt x="5495" y="7034"/>
                  </a:cubicBezTo>
                  <a:cubicBezTo>
                    <a:pt x="5522" y="7063"/>
                    <a:pt x="5552" y="7090"/>
                    <a:pt x="5580" y="7118"/>
                  </a:cubicBezTo>
                  <a:cubicBezTo>
                    <a:pt x="5508" y="7083"/>
                    <a:pt x="5443" y="7067"/>
                    <a:pt x="5364" y="7057"/>
                  </a:cubicBezTo>
                  <a:cubicBezTo>
                    <a:pt x="5299" y="7049"/>
                    <a:pt x="5235" y="7049"/>
                    <a:pt x="5170" y="7052"/>
                  </a:cubicBezTo>
                  <a:cubicBezTo>
                    <a:pt x="5131" y="7054"/>
                    <a:pt x="4929" y="7055"/>
                    <a:pt x="4985" y="7074"/>
                  </a:cubicBezTo>
                  <a:cubicBezTo>
                    <a:pt x="5005" y="7081"/>
                    <a:pt x="5033" y="7082"/>
                    <a:pt x="5055" y="7087"/>
                  </a:cubicBezTo>
                </a:path>
                <a:path w="5591" h="9292" extrusionOk="0">
                  <a:moveTo>
                    <a:pt x="5020" y="7185"/>
                  </a:moveTo>
                  <a:cubicBezTo>
                    <a:pt x="5068" y="7292"/>
                    <a:pt x="5121" y="7386"/>
                    <a:pt x="5125" y="7507"/>
                  </a:cubicBezTo>
                  <a:cubicBezTo>
                    <a:pt x="5139" y="7894"/>
                    <a:pt x="4957" y="8353"/>
                    <a:pt x="4704" y="8639"/>
                  </a:cubicBezTo>
                  <a:cubicBezTo>
                    <a:pt x="4263" y="9139"/>
                    <a:pt x="3510" y="9260"/>
                    <a:pt x="2881" y="9286"/>
                  </a:cubicBezTo>
                  <a:cubicBezTo>
                    <a:pt x="2166" y="9316"/>
                    <a:pt x="1358" y="9303"/>
                    <a:pt x="665" y="9101"/>
                  </a:cubicBezTo>
                  <a:cubicBezTo>
                    <a:pt x="588" y="9079"/>
                    <a:pt x="362" y="9007"/>
                    <a:pt x="360" y="8893"/>
                  </a:cubicBezTo>
                  <a:cubicBezTo>
                    <a:pt x="358" y="8796"/>
                    <a:pt x="454" y="8840"/>
                    <a:pt x="515" y="8824"/>
                  </a:cubicBezTo>
                </a:path>
                <a:path w="5591" h="9292" extrusionOk="0">
                  <a:moveTo>
                    <a:pt x="5360" y="3095"/>
                  </a:moveTo>
                  <a:cubicBezTo>
                    <a:pt x="5364" y="3018"/>
                    <a:pt x="5368" y="2956"/>
                    <a:pt x="5357" y="2875"/>
                  </a:cubicBezTo>
                  <a:cubicBezTo>
                    <a:pt x="5263" y="2180"/>
                    <a:pt x="4842" y="1614"/>
                    <a:pt x="4249" y="1255"/>
                  </a:cubicBezTo>
                  <a:cubicBezTo>
                    <a:pt x="3874" y="1028"/>
                    <a:pt x="3426" y="831"/>
                    <a:pt x="2989" y="771"/>
                  </a:cubicBezTo>
                  <a:cubicBezTo>
                    <a:pt x="2474" y="701"/>
                    <a:pt x="2017" y="933"/>
                    <a:pt x="1655" y="1286"/>
                  </a:cubicBezTo>
                  <a:cubicBezTo>
                    <a:pt x="1358" y="1576"/>
                    <a:pt x="1187" y="1943"/>
                    <a:pt x="1052" y="2329"/>
                  </a:cubicBezTo>
                  <a:cubicBezTo>
                    <a:pt x="982" y="2528"/>
                    <a:pt x="639" y="2939"/>
                    <a:pt x="835" y="2860"/>
                  </a:cubicBezTo>
                  <a:cubicBezTo>
                    <a:pt x="845" y="2856"/>
                    <a:pt x="868" y="2812"/>
                    <a:pt x="877" y="2802"/>
                  </a:cubicBezTo>
                </a:path>
                <a:path w="5591" h="9292" extrusionOk="0">
                  <a:moveTo>
                    <a:pt x="824" y="2704"/>
                  </a:moveTo>
                  <a:cubicBezTo>
                    <a:pt x="797" y="2716"/>
                    <a:pt x="806" y="2716"/>
                    <a:pt x="777" y="2722"/>
                  </a:cubicBezTo>
                  <a:cubicBezTo>
                    <a:pt x="651" y="2746"/>
                    <a:pt x="521" y="2741"/>
                    <a:pt x="394" y="2752"/>
                  </a:cubicBezTo>
                  <a:cubicBezTo>
                    <a:pt x="287" y="2761"/>
                    <a:pt x="136" y="2750"/>
                    <a:pt x="37" y="2799"/>
                  </a:cubicBezTo>
                  <a:cubicBezTo>
                    <a:pt x="33" y="2806"/>
                    <a:pt x="29" y="2812"/>
                    <a:pt x="25" y="2819"/>
                  </a:cubicBezTo>
                  <a:cubicBezTo>
                    <a:pt x="48" y="2844"/>
                    <a:pt x="73" y="2869"/>
                    <a:pt x="95" y="2895"/>
                  </a:cubicBezTo>
                  <a:cubicBezTo>
                    <a:pt x="154" y="2963"/>
                    <a:pt x="200" y="3043"/>
                    <a:pt x="234" y="3126"/>
                  </a:cubicBezTo>
                  <a:cubicBezTo>
                    <a:pt x="266" y="3203"/>
                    <a:pt x="286" y="3287"/>
                    <a:pt x="309" y="3367"/>
                  </a:cubicBezTo>
                  <a:cubicBezTo>
                    <a:pt x="329" y="3436"/>
                    <a:pt x="373" y="3608"/>
                    <a:pt x="455" y="3635"/>
                  </a:cubicBezTo>
                  <a:cubicBezTo>
                    <a:pt x="498" y="3649"/>
                    <a:pt x="509" y="3625"/>
                    <a:pt x="539" y="3602"/>
                  </a:cubicBezTo>
                  <a:cubicBezTo>
                    <a:pt x="544" y="3598"/>
                    <a:pt x="616" y="3520"/>
                    <a:pt x="627" y="3529"/>
                  </a:cubicBezTo>
                  <a:cubicBezTo>
                    <a:pt x="640" y="3546"/>
                    <a:pt x="643" y="3552"/>
                    <a:pt x="624" y="3562"/>
                  </a:cubicBezTo>
                  <a:cubicBezTo>
                    <a:pt x="604" y="3547"/>
                    <a:pt x="587" y="3534"/>
                    <a:pt x="570" y="3522"/>
                  </a:cubicBezTo>
                  <a:cubicBezTo>
                    <a:pt x="548" y="3542"/>
                    <a:pt x="527" y="3556"/>
                    <a:pt x="512" y="3583"/>
                  </a:cubicBezTo>
                  <a:cubicBezTo>
                    <a:pt x="489" y="3623"/>
                    <a:pt x="467" y="3679"/>
                    <a:pt x="454" y="3723"/>
                  </a:cubicBezTo>
                  <a:cubicBezTo>
                    <a:pt x="447" y="3738"/>
                    <a:pt x="445" y="3742"/>
                    <a:pt x="449" y="3753"/>
                  </a:cubicBezTo>
                  <a:cubicBezTo>
                    <a:pt x="495" y="3708"/>
                    <a:pt x="539" y="3658"/>
                    <a:pt x="585" y="3612"/>
                  </a:cubicBezTo>
                  <a:cubicBezTo>
                    <a:pt x="746" y="3451"/>
                    <a:pt x="916" y="3304"/>
                    <a:pt x="1087" y="3155"/>
                  </a:cubicBezTo>
                  <a:cubicBezTo>
                    <a:pt x="1143" y="3106"/>
                    <a:pt x="1200" y="3057"/>
                    <a:pt x="1258" y="3010"/>
                  </a:cubicBezTo>
                  <a:cubicBezTo>
                    <a:pt x="1286" y="2987"/>
                    <a:pt x="1312" y="2973"/>
                    <a:pt x="1342" y="2955"/>
                  </a:cubicBezTo>
                  <a:cubicBezTo>
                    <a:pt x="1386" y="2927"/>
                    <a:pt x="1361" y="2963"/>
                    <a:pt x="1388" y="2897"/>
                  </a:cubicBezTo>
                </a:path>
                <a:path w="5591" h="9292" extrusionOk="0">
                  <a:moveTo>
                    <a:pt x="1412" y="2895"/>
                  </a:moveTo>
                  <a:cubicBezTo>
                    <a:pt x="1417" y="2895"/>
                    <a:pt x="1423" y="2895"/>
                    <a:pt x="1428" y="2895"/>
                  </a:cubicBezTo>
                  <a:cubicBezTo>
                    <a:pt x="1465" y="2916"/>
                    <a:pt x="1388" y="2870"/>
                    <a:pt x="1377" y="2864"/>
                  </a:cubicBezTo>
                  <a:cubicBezTo>
                    <a:pt x="1331" y="2840"/>
                    <a:pt x="1278" y="2830"/>
                    <a:pt x="1227" y="2822"/>
                  </a:cubicBezTo>
                  <a:cubicBezTo>
                    <a:pt x="1163" y="2812"/>
                    <a:pt x="1099" y="2809"/>
                    <a:pt x="1035" y="2801"/>
                  </a:cubicBezTo>
                  <a:cubicBezTo>
                    <a:pt x="1058" y="2764"/>
                    <a:pt x="1105" y="2750"/>
                    <a:pt x="1145" y="2731"/>
                  </a:cubicBezTo>
                  <a:cubicBezTo>
                    <a:pt x="1162" y="2723"/>
                    <a:pt x="1178" y="2715"/>
                    <a:pt x="1195" y="2707"/>
                  </a:cubicBezTo>
                </a:path>
                <a:path w="5591" h="9292" extrusionOk="0">
                  <a:moveTo>
                    <a:pt x="529" y="2678"/>
                  </a:moveTo>
                  <a:cubicBezTo>
                    <a:pt x="517" y="2643"/>
                    <a:pt x="479" y="2627"/>
                    <a:pt x="479" y="2548"/>
                  </a:cubicBezTo>
                  <a:cubicBezTo>
                    <a:pt x="479" y="2137"/>
                    <a:pt x="619" y="1725"/>
                    <a:pt x="869" y="1401"/>
                  </a:cubicBezTo>
                  <a:cubicBezTo>
                    <a:pt x="1521" y="556"/>
                    <a:pt x="2509" y="63"/>
                    <a:pt x="3568" y="5"/>
                  </a:cubicBezTo>
                  <a:cubicBezTo>
                    <a:pt x="4078" y="-23"/>
                    <a:pt x="4678" y="16"/>
                    <a:pt x="5090" y="354"/>
                  </a:cubicBezTo>
                  <a:cubicBezTo>
                    <a:pt x="5520" y="707"/>
                    <a:pt x="5594" y="1346"/>
                    <a:pt x="5590" y="1865"/>
                  </a:cubicBezTo>
                  <a:cubicBezTo>
                    <a:pt x="5589" y="2009"/>
                    <a:pt x="5602" y="2622"/>
                    <a:pt x="5477" y="2729"/>
                  </a:cubicBezTo>
                  <a:cubicBezTo>
                    <a:pt x="5448" y="2754"/>
                    <a:pt x="5496" y="2664"/>
                    <a:pt x="5460" y="2654"/>
                  </a:cubicBezTo>
                  <a:cubicBezTo>
                    <a:pt x="5434" y="2649"/>
                    <a:pt x="5426" y="2647"/>
                    <a:pt x="5410" y="2639"/>
                  </a:cubicBezTo>
                </a:path>
              </a:pathLst>
            </a:custGeom>
            <a:noFill/>
            <a:ln w="19050" cap="rnd">
              <a:solidFill>
                <a:schemeClr val="tx1"/>
              </a:solidFill>
              <a:round/>
              <a:headEnd/>
              <a:tailEnd/>
            </a:ln>
          </p:spPr>
          <p:txBody>
            <a:bodyPr>
              <a:prstTxWarp prst="textNoShape">
                <a:avLst/>
              </a:prstTxWarp>
            </a:bodyPr>
            <a:lstStyle/>
            <a:p>
              <a:endParaRPr lang="en-US"/>
            </a:p>
          </p:txBody>
        </p:sp>
        <p:sp>
          <p:nvSpPr>
            <p:cNvPr id="40974" name="Freeform 21"/>
            <p:cNvSpPr>
              <a:spLocks noRot="1" noChangeAspect="1" noEditPoints="1" noChangeArrowheads="1" noChangeShapeType="1" noTextEdit="1"/>
            </p:cNvSpPr>
            <p:nvPr/>
          </p:nvSpPr>
          <p:spPr bwMode="auto">
            <a:xfrm>
              <a:off x="6399213" y="3568700"/>
              <a:ext cx="1198562" cy="227013"/>
            </a:xfrm>
            <a:custGeom>
              <a:avLst/>
              <a:gdLst>
                <a:gd name="T0" fmla="*/ 57640 w 3327"/>
                <a:gd name="T1" fmla="*/ 0 h 629"/>
                <a:gd name="T2" fmla="*/ 16211 w 3327"/>
                <a:gd name="T3" fmla="*/ 41144 h 629"/>
                <a:gd name="T4" fmla="*/ 721 w 3327"/>
                <a:gd name="T5" fmla="*/ 107191 h 629"/>
                <a:gd name="T6" fmla="*/ 45752 w 3327"/>
                <a:gd name="T7" fmla="*/ 124514 h 629"/>
                <a:gd name="T8" fmla="*/ 82858 w 3327"/>
                <a:gd name="T9" fmla="*/ 67851 h 629"/>
                <a:gd name="T10" fmla="*/ 85380 w 3327"/>
                <a:gd name="T11" fmla="*/ 128123 h 629"/>
                <a:gd name="T12" fmla="*/ 138697 w 3327"/>
                <a:gd name="T13" fmla="*/ 122349 h 629"/>
                <a:gd name="T14" fmla="*/ 134374 w 3327"/>
                <a:gd name="T15" fmla="*/ 88784 h 629"/>
                <a:gd name="T16" fmla="*/ 216872 w 3327"/>
                <a:gd name="T17" fmla="*/ 93476 h 629"/>
                <a:gd name="T18" fmla="*/ 265867 w 3327"/>
                <a:gd name="T19" fmla="*/ 113687 h 629"/>
                <a:gd name="T20" fmla="*/ 226239 w 3327"/>
                <a:gd name="T21" fmla="*/ 154109 h 629"/>
                <a:gd name="T22" fmla="*/ 316302 w 3327"/>
                <a:gd name="T23" fmla="*/ 108995 h 629"/>
                <a:gd name="T24" fmla="*/ 339358 w 3327"/>
                <a:gd name="T25" fmla="*/ 161688 h 629"/>
                <a:gd name="T26" fmla="*/ 324228 w 3327"/>
                <a:gd name="T27" fmla="*/ 70739 h 629"/>
                <a:gd name="T28" fmla="*/ 378266 w 3327"/>
                <a:gd name="T29" fmla="*/ 118740 h 629"/>
                <a:gd name="T30" fmla="*/ 378986 w 3327"/>
                <a:gd name="T31" fmla="*/ 167824 h 629"/>
                <a:gd name="T32" fmla="*/ 430863 w 3327"/>
                <a:gd name="T33" fmla="*/ 137146 h 629"/>
                <a:gd name="T34" fmla="*/ 374663 w 3327"/>
                <a:gd name="T35" fmla="*/ 116935 h 629"/>
                <a:gd name="T36" fmla="*/ 500752 w 3327"/>
                <a:gd name="T37" fmla="*/ 216907 h 629"/>
                <a:gd name="T38" fmla="*/ 495708 w 3327"/>
                <a:gd name="T39" fmla="*/ 190561 h 629"/>
                <a:gd name="T40" fmla="*/ 504354 w 3327"/>
                <a:gd name="T41" fmla="*/ 146169 h 629"/>
                <a:gd name="T42" fmla="*/ 565958 w 3327"/>
                <a:gd name="T43" fmla="*/ 170711 h 629"/>
                <a:gd name="T44" fmla="*/ 589374 w 3327"/>
                <a:gd name="T45" fmla="*/ 151583 h 629"/>
                <a:gd name="T46" fmla="*/ 673673 w 3327"/>
                <a:gd name="T47" fmla="*/ 162410 h 629"/>
                <a:gd name="T48" fmla="*/ 674034 w 3327"/>
                <a:gd name="T49" fmla="*/ 194170 h 629"/>
                <a:gd name="T50" fmla="*/ 643412 w 3327"/>
                <a:gd name="T51" fmla="*/ 147613 h 629"/>
                <a:gd name="T52" fmla="*/ 697450 w 3327"/>
                <a:gd name="T53" fmla="*/ 104303 h 629"/>
                <a:gd name="T54" fmla="*/ 695288 w 3327"/>
                <a:gd name="T55" fmla="*/ 138590 h 629"/>
                <a:gd name="T56" fmla="*/ 721587 w 3327"/>
                <a:gd name="T57" fmla="*/ 140394 h 629"/>
                <a:gd name="T58" fmla="*/ 670431 w 3327"/>
                <a:gd name="T59" fmla="*/ 226652 h 629"/>
                <a:gd name="T60" fmla="*/ 737078 w 3327"/>
                <a:gd name="T61" fmla="*/ 190200 h 629"/>
                <a:gd name="T62" fmla="*/ 781029 w 3327"/>
                <a:gd name="T63" fmla="*/ 175042 h 629"/>
                <a:gd name="T64" fmla="*/ 806246 w 3327"/>
                <a:gd name="T65" fmla="*/ 203915 h 629"/>
                <a:gd name="T66" fmla="*/ 772022 w 3327"/>
                <a:gd name="T67" fmla="*/ 140755 h 629"/>
                <a:gd name="T68" fmla="*/ 810930 w 3327"/>
                <a:gd name="T69" fmla="*/ 104303 h 629"/>
                <a:gd name="T70" fmla="*/ 803004 w 3327"/>
                <a:gd name="T71" fmla="*/ 143282 h 629"/>
                <a:gd name="T72" fmla="*/ 822818 w 3327"/>
                <a:gd name="T73" fmla="*/ 179734 h 629"/>
                <a:gd name="T74" fmla="*/ 887303 w 3327"/>
                <a:gd name="T75" fmla="*/ 173959 h 629"/>
                <a:gd name="T76" fmla="*/ 975565 w 3327"/>
                <a:gd name="T77" fmla="*/ 86980 h 629"/>
                <a:gd name="T78" fmla="*/ 985652 w 3327"/>
                <a:gd name="T79" fmla="*/ 154109 h 629"/>
                <a:gd name="T80" fmla="*/ 952149 w 3327"/>
                <a:gd name="T81" fmla="*/ 81566 h 629"/>
                <a:gd name="T82" fmla="*/ 1013392 w 3327"/>
                <a:gd name="T83" fmla="*/ 38257 h 629"/>
                <a:gd name="T84" fmla="*/ 982050 w 3327"/>
                <a:gd name="T85" fmla="*/ 94198 h 629"/>
                <a:gd name="T86" fmla="*/ 1035367 w 3327"/>
                <a:gd name="T87" fmla="*/ 101416 h 629"/>
                <a:gd name="T88" fmla="*/ 1056622 w 3327"/>
                <a:gd name="T89" fmla="*/ 144003 h 629"/>
                <a:gd name="T90" fmla="*/ 1072834 w 3327"/>
                <a:gd name="T91" fmla="*/ 70017 h 629"/>
                <a:gd name="T92" fmla="*/ 1134437 w 3327"/>
                <a:gd name="T93" fmla="*/ 26707 h 629"/>
                <a:gd name="T94" fmla="*/ 1096250 w 3327"/>
                <a:gd name="T95" fmla="*/ 94559 h 629"/>
                <a:gd name="T96" fmla="*/ 1064908 w 3327"/>
                <a:gd name="T97" fmla="*/ 158079 h 629"/>
                <a:gd name="T98" fmla="*/ 1085443 w 3327"/>
                <a:gd name="T99" fmla="*/ 155192 h 629"/>
                <a:gd name="T100" fmla="*/ 1139841 w 3327"/>
                <a:gd name="T101" fmla="*/ 146169 h 629"/>
                <a:gd name="T102" fmla="*/ 1153170 w 3327"/>
                <a:gd name="T103" fmla="*/ 67129 h 629"/>
                <a:gd name="T104" fmla="*/ 1191357 w 3327"/>
                <a:gd name="T105" fmla="*/ 32843 h 629"/>
                <a:gd name="T106" fmla="*/ 1137679 w 3327"/>
                <a:gd name="T107" fmla="*/ 109717 h 629"/>
                <a:gd name="T108" fmla="*/ 1198202 w 3327"/>
                <a:gd name="T109" fmla="*/ 77235 h 62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327"/>
                <a:gd name="T166" fmla="*/ 0 h 629"/>
                <a:gd name="T167" fmla="*/ 3327 w 3327"/>
                <a:gd name="T168" fmla="*/ 629 h 62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327" h="629" extrusionOk="0">
                  <a:moveTo>
                    <a:pt x="145" y="10"/>
                  </a:moveTo>
                  <a:cubicBezTo>
                    <a:pt x="150" y="7"/>
                    <a:pt x="155" y="3"/>
                    <a:pt x="160" y="0"/>
                  </a:cubicBezTo>
                  <a:cubicBezTo>
                    <a:pt x="137" y="6"/>
                    <a:pt x="122" y="24"/>
                    <a:pt x="102" y="41"/>
                  </a:cubicBezTo>
                  <a:cubicBezTo>
                    <a:pt x="78" y="62"/>
                    <a:pt x="60" y="86"/>
                    <a:pt x="45" y="114"/>
                  </a:cubicBezTo>
                  <a:cubicBezTo>
                    <a:pt x="30" y="142"/>
                    <a:pt x="17" y="171"/>
                    <a:pt x="9" y="202"/>
                  </a:cubicBezTo>
                  <a:cubicBezTo>
                    <a:pt x="1" y="233"/>
                    <a:pt x="-3" y="265"/>
                    <a:pt x="2" y="297"/>
                  </a:cubicBezTo>
                  <a:cubicBezTo>
                    <a:pt x="6" y="319"/>
                    <a:pt x="15" y="357"/>
                    <a:pt x="37" y="369"/>
                  </a:cubicBezTo>
                  <a:cubicBezTo>
                    <a:pt x="69" y="387"/>
                    <a:pt x="100" y="354"/>
                    <a:pt x="127" y="345"/>
                  </a:cubicBezTo>
                  <a:cubicBezTo>
                    <a:pt x="132" y="345"/>
                    <a:pt x="137" y="344"/>
                    <a:pt x="142" y="344"/>
                  </a:cubicBezTo>
                </a:path>
                <a:path w="3327" h="629" extrusionOk="0">
                  <a:moveTo>
                    <a:pt x="230" y="188"/>
                  </a:moveTo>
                  <a:cubicBezTo>
                    <a:pt x="227" y="215"/>
                    <a:pt x="223" y="244"/>
                    <a:pt x="223" y="271"/>
                  </a:cubicBezTo>
                  <a:cubicBezTo>
                    <a:pt x="223" y="298"/>
                    <a:pt x="226" y="330"/>
                    <a:pt x="237" y="355"/>
                  </a:cubicBezTo>
                  <a:cubicBezTo>
                    <a:pt x="254" y="392"/>
                    <a:pt x="286" y="394"/>
                    <a:pt x="322" y="387"/>
                  </a:cubicBezTo>
                  <a:cubicBezTo>
                    <a:pt x="347" y="382"/>
                    <a:pt x="382" y="368"/>
                    <a:pt x="385" y="339"/>
                  </a:cubicBezTo>
                  <a:cubicBezTo>
                    <a:pt x="387" y="322"/>
                    <a:pt x="346" y="259"/>
                    <a:pt x="355" y="249"/>
                  </a:cubicBezTo>
                  <a:cubicBezTo>
                    <a:pt x="361" y="248"/>
                    <a:pt x="367" y="247"/>
                    <a:pt x="373" y="246"/>
                  </a:cubicBezTo>
                </a:path>
                <a:path w="3327" h="629" extrusionOk="0">
                  <a:moveTo>
                    <a:pt x="648" y="211"/>
                  </a:moveTo>
                  <a:cubicBezTo>
                    <a:pt x="632" y="227"/>
                    <a:pt x="616" y="242"/>
                    <a:pt x="602" y="259"/>
                  </a:cubicBezTo>
                  <a:cubicBezTo>
                    <a:pt x="630" y="263"/>
                    <a:pt x="655" y="258"/>
                    <a:pt x="683" y="259"/>
                  </a:cubicBezTo>
                  <a:cubicBezTo>
                    <a:pt x="719" y="261"/>
                    <a:pt x="739" y="277"/>
                    <a:pt x="738" y="315"/>
                  </a:cubicBezTo>
                  <a:cubicBezTo>
                    <a:pt x="738" y="344"/>
                    <a:pt x="708" y="377"/>
                    <a:pt x="692" y="399"/>
                  </a:cubicBezTo>
                  <a:cubicBezTo>
                    <a:pt x="671" y="428"/>
                    <a:pt x="652" y="444"/>
                    <a:pt x="628" y="427"/>
                  </a:cubicBezTo>
                </a:path>
                <a:path w="3327" h="629" extrusionOk="0">
                  <a:moveTo>
                    <a:pt x="858" y="234"/>
                  </a:moveTo>
                  <a:cubicBezTo>
                    <a:pt x="862" y="259"/>
                    <a:pt x="871" y="278"/>
                    <a:pt x="878" y="302"/>
                  </a:cubicBezTo>
                  <a:cubicBezTo>
                    <a:pt x="887" y="329"/>
                    <a:pt x="896" y="357"/>
                    <a:pt x="907" y="384"/>
                  </a:cubicBezTo>
                  <a:cubicBezTo>
                    <a:pt x="916" y="406"/>
                    <a:pt x="930" y="427"/>
                    <a:pt x="942" y="448"/>
                  </a:cubicBezTo>
                </a:path>
                <a:path w="3327" h="629" extrusionOk="0">
                  <a:moveTo>
                    <a:pt x="808" y="246"/>
                  </a:moveTo>
                  <a:cubicBezTo>
                    <a:pt x="841" y="218"/>
                    <a:pt x="857" y="205"/>
                    <a:pt x="900" y="196"/>
                  </a:cubicBezTo>
                  <a:cubicBezTo>
                    <a:pt x="935" y="188"/>
                    <a:pt x="973" y="188"/>
                    <a:pt x="1005" y="206"/>
                  </a:cubicBezTo>
                  <a:cubicBezTo>
                    <a:pt x="1050" y="231"/>
                    <a:pt x="1052" y="284"/>
                    <a:pt x="1050" y="329"/>
                  </a:cubicBezTo>
                  <a:cubicBezTo>
                    <a:pt x="1049" y="358"/>
                    <a:pt x="1046" y="388"/>
                    <a:pt x="1045" y="417"/>
                  </a:cubicBezTo>
                  <a:cubicBezTo>
                    <a:pt x="1044" y="437"/>
                    <a:pt x="1046" y="447"/>
                    <a:pt x="1052" y="465"/>
                  </a:cubicBezTo>
                  <a:cubicBezTo>
                    <a:pt x="1081" y="467"/>
                    <a:pt x="1100" y="457"/>
                    <a:pt x="1126" y="442"/>
                  </a:cubicBezTo>
                  <a:cubicBezTo>
                    <a:pt x="1148" y="429"/>
                    <a:pt x="1190" y="408"/>
                    <a:pt x="1196" y="380"/>
                  </a:cubicBezTo>
                  <a:cubicBezTo>
                    <a:pt x="1203" y="347"/>
                    <a:pt x="1144" y="335"/>
                    <a:pt x="1122" y="330"/>
                  </a:cubicBezTo>
                  <a:cubicBezTo>
                    <a:pt x="1095" y="324"/>
                    <a:pt x="1067" y="324"/>
                    <a:pt x="1040" y="324"/>
                  </a:cubicBezTo>
                  <a:cubicBezTo>
                    <a:pt x="1065" y="317"/>
                    <a:pt x="1088" y="309"/>
                    <a:pt x="1112" y="299"/>
                  </a:cubicBezTo>
                </a:path>
                <a:path w="3327" h="629" extrusionOk="0">
                  <a:moveTo>
                    <a:pt x="1390" y="601"/>
                  </a:moveTo>
                  <a:cubicBezTo>
                    <a:pt x="1384" y="606"/>
                    <a:pt x="1379" y="610"/>
                    <a:pt x="1373" y="615"/>
                  </a:cubicBezTo>
                  <a:cubicBezTo>
                    <a:pt x="1363" y="583"/>
                    <a:pt x="1371" y="563"/>
                    <a:pt x="1376" y="528"/>
                  </a:cubicBezTo>
                  <a:cubicBezTo>
                    <a:pt x="1379" y="503"/>
                    <a:pt x="1384" y="478"/>
                    <a:pt x="1388" y="453"/>
                  </a:cubicBezTo>
                  <a:cubicBezTo>
                    <a:pt x="1390" y="436"/>
                    <a:pt x="1395" y="421"/>
                    <a:pt x="1400" y="405"/>
                  </a:cubicBezTo>
                  <a:cubicBezTo>
                    <a:pt x="1433" y="420"/>
                    <a:pt x="1453" y="448"/>
                    <a:pt x="1481" y="473"/>
                  </a:cubicBezTo>
                  <a:cubicBezTo>
                    <a:pt x="1516" y="504"/>
                    <a:pt x="1538" y="510"/>
                    <a:pt x="1571" y="473"/>
                  </a:cubicBezTo>
                  <a:cubicBezTo>
                    <a:pt x="1604" y="436"/>
                    <a:pt x="1622" y="372"/>
                    <a:pt x="1636" y="325"/>
                  </a:cubicBezTo>
                  <a:cubicBezTo>
                    <a:pt x="1632" y="355"/>
                    <a:pt x="1626" y="390"/>
                    <a:pt x="1636" y="420"/>
                  </a:cubicBezTo>
                  <a:cubicBezTo>
                    <a:pt x="1646" y="451"/>
                    <a:pt x="1666" y="466"/>
                    <a:pt x="1691" y="483"/>
                  </a:cubicBezTo>
                </a:path>
                <a:path w="3327" h="629" extrusionOk="0">
                  <a:moveTo>
                    <a:pt x="1870" y="450"/>
                  </a:moveTo>
                  <a:cubicBezTo>
                    <a:pt x="1863" y="476"/>
                    <a:pt x="1858" y="495"/>
                    <a:pt x="1865" y="522"/>
                  </a:cubicBezTo>
                  <a:cubicBezTo>
                    <a:pt x="1867" y="527"/>
                    <a:pt x="1869" y="533"/>
                    <a:pt x="1871" y="538"/>
                  </a:cubicBezTo>
                </a:path>
                <a:path w="3327" h="629" extrusionOk="0">
                  <a:moveTo>
                    <a:pt x="1796" y="424"/>
                  </a:moveTo>
                  <a:cubicBezTo>
                    <a:pt x="1793" y="419"/>
                    <a:pt x="1789" y="414"/>
                    <a:pt x="1786" y="409"/>
                  </a:cubicBezTo>
                  <a:cubicBezTo>
                    <a:pt x="1810" y="386"/>
                    <a:pt x="1832" y="362"/>
                    <a:pt x="1860" y="344"/>
                  </a:cubicBezTo>
                  <a:cubicBezTo>
                    <a:pt x="1884" y="328"/>
                    <a:pt x="1913" y="300"/>
                    <a:pt x="1936" y="289"/>
                  </a:cubicBezTo>
                  <a:cubicBezTo>
                    <a:pt x="1952" y="282"/>
                    <a:pt x="1981" y="279"/>
                    <a:pt x="1998" y="274"/>
                  </a:cubicBezTo>
                </a:path>
                <a:path w="3327" h="629" extrusionOk="0">
                  <a:moveTo>
                    <a:pt x="1930" y="384"/>
                  </a:moveTo>
                  <a:cubicBezTo>
                    <a:pt x="1929" y="389"/>
                    <a:pt x="1929" y="395"/>
                    <a:pt x="1928" y="400"/>
                  </a:cubicBezTo>
                  <a:cubicBezTo>
                    <a:pt x="1953" y="393"/>
                    <a:pt x="1977" y="390"/>
                    <a:pt x="2003" y="389"/>
                  </a:cubicBezTo>
                </a:path>
                <a:path w="3327" h="629" extrusionOk="0">
                  <a:moveTo>
                    <a:pt x="1873" y="611"/>
                  </a:moveTo>
                  <a:cubicBezTo>
                    <a:pt x="1869" y="617"/>
                    <a:pt x="1865" y="622"/>
                    <a:pt x="1861" y="628"/>
                  </a:cubicBezTo>
                  <a:cubicBezTo>
                    <a:pt x="1893" y="617"/>
                    <a:pt x="1923" y="602"/>
                    <a:pt x="1953" y="583"/>
                  </a:cubicBezTo>
                  <a:cubicBezTo>
                    <a:pt x="1983" y="564"/>
                    <a:pt x="2013" y="540"/>
                    <a:pt x="2046" y="527"/>
                  </a:cubicBezTo>
                  <a:cubicBezTo>
                    <a:pt x="2052" y="525"/>
                    <a:pt x="2059" y="524"/>
                    <a:pt x="2065" y="522"/>
                  </a:cubicBezTo>
                </a:path>
                <a:path w="3327" h="629" extrusionOk="0">
                  <a:moveTo>
                    <a:pt x="2168" y="485"/>
                  </a:moveTo>
                  <a:cubicBezTo>
                    <a:pt x="2181" y="514"/>
                    <a:pt x="2198" y="534"/>
                    <a:pt x="2223" y="555"/>
                  </a:cubicBezTo>
                  <a:cubicBezTo>
                    <a:pt x="2228" y="558"/>
                    <a:pt x="2233" y="562"/>
                    <a:pt x="2238" y="565"/>
                  </a:cubicBezTo>
                  <a:cubicBezTo>
                    <a:pt x="2218" y="536"/>
                    <a:pt x="2201" y="507"/>
                    <a:pt x="2183" y="477"/>
                  </a:cubicBezTo>
                  <a:cubicBezTo>
                    <a:pt x="2167" y="450"/>
                    <a:pt x="2151" y="421"/>
                    <a:pt x="2143" y="390"/>
                  </a:cubicBezTo>
                  <a:cubicBezTo>
                    <a:pt x="2134" y="353"/>
                    <a:pt x="2146" y="335"/>
                    <a:pt x="2174" y="314"/>
                  </a:cubicBezTo>
                  <a:cubicBezTo>
                    <a:pt x="2194" y="299"/>
                    <a:pt x="2226" y="287"/>
                    <a:pt x="2251" y="289"/>
                  </a:cubicBezTo>
                  <a:cubicBezTo>
                    <a:pt x="2259" y="291"/>
                    <a:pt x="2268" y="292"/>
                    <a:pt x="2276" y="294"/>
                  </a:cubicBezTo>
                  <a:cubicBezTo>
                    <a:pt x="2272" y="337"/>
                    <a:pt x="2254" y="360"/>
                    <a:pt x="2229" y="397"/>
                  </a:cubicBezTo>
                  <a:cubicBezTo>
                    <a:pt x="2208" y="428"/>
                    <a:pt x="2195" y="448"/>
                    <a:pt x="2189" y="485"/>
                  </a:cubicBezTo>
                  <a:cubicBezTo>
                    <a:pt x="2227" y="506"/>
                    <a:pt x="2242" y="497"/>
                    <a:pt x="2284" y="498"/>
                  </a:cubicBezTo>
                  <a:cubicBezTo>
                    <a:pt x="2334" y="499"/>
                    <a:pt x="2378" y="495"/>
                    <a:pt x="2428" y="487"/>
                  </a:cubicBezTo>
                  <a:cubicBezTo>
                    <a:pt x="2440" y="485"/>
                    <a:pt x="2451" y="484"/>
                    <a:pt x="2463" y="482"/>
                  </a:cubicBezTo>
                </a:path>
                <a:path w="3327" h="629" extrusionOk="0">
                  <a:moveTo>
                    <a:pt x="2744" y="184"/>
                  </a:moveTo>
                  <a:cubicBezTo>
                    <a:pt x="2706" y="201"/>
                    <a:pt x="2706" y="200"/>
                    <a:pt x="2708" y="241"/>
                  </a:cubicBezTo>
                  <a:cubicBezTo>
                    <a:pt x="2710" y="274"/>
                    <a:pt x="2710" y="307"/>
                    <a:pt x="2714" y="340"/>
                  </a:cubicBezTo>
                  <a:cubicBezTo>
                    <a:pt x="2718" y="369"/>
                    <a:pt x="2722" y="401"/>
                    <a:pt x="2736" y="427"/>
                  </a:cubicBezTo>
                  <a:cubicBezTo>
                    <a:pt x="2740" y="433"/>
                    <a:pt x="2744" y="439"/>
                    <a:pt x="2748" y="445"/>
                  </a:cubicBezTo>
                </a:path>
                <a:path w="3327" h="629" extrusionOk="0">
                  <a:moveTo>
                    <a:pt x="2643" y="226"/>
                  </a:moveTo>
                  <a:cubicBezTo>
                    <a:pt x="2656" y="197"/>
                    <a:pt x="2679" y="189"/>
                    <a:pt x="2708" y="169"/>
                  </a:cubicBezTo>
                  <a:cubicBezTo>
                    <a:pt x="2743" y="145"/>
                    <a:pt x="2776" y="126"/>
                    <a:pt x="2813" y="106"/>
                  </a:cubicBezTo>
                  <a:cubicBezTo>
                    <a:pt x="2840" y="91"/>
                    <a:pt x="2856" y="89"/>
                    <a:pt x="2886" y="84"/>
                  </a:cubicBezTo>
                </a:path>
                <a:path w="3327" h="629" extrusionOk="0">
                  <a:moveTo>
                    <a:pt x="2726" y="261"/>
                  </a:moveTo>
                  <a:cubicBezTo>
                    <a:pt x="2728" y="300"/>
                    <a:pt x="2750" y="297"/>
                    <a:pt x="2791" y="299"/>
                  </a:cubicBezTo>
                  <a:cubicBezTo>
                    <a:pt x="2821" y="300"/>
                    <a:pt x="2846" y="287"/>
                    <a:pt x="2874" y="281"/>
                  </a:cubicBezTo>
                  <a:cubicBezTo>
                    <a:pt x="2908" y="273"/>
                    <a:pt x="2910" y="305"/>
                    <a:pt x="2918" y="330"/>
                  </a:cubicBezTo>
                  <a:cubicBezTo>
                    <a:pt x="2925" y="352"/>
                    <a:pt x="2929" y="376"/>
                    <a:pt x="2933" y="399"/>
                  </a:cubicBezTo>
                </a:path>
                <a:path w="3327" h="629" extrusionOk="0">
                  <a:moveTo>
                    <a:pt x="2901" y="267"/>
                  </a:moveTo>
                  <a:cubicBezTo>
                    <a:pt x="2926" y="238"/>
                    <a:pt x="2949" y="219"/>
                    <a:pt x="2978" y="194"/>
                  </a:cubicBezTo>
                  <a:cubicBezTo>
                    <a:pt x="3013" y="164"/>
                    <a:pt x="3049" y="133"/>
                    <a:pt x="3089" y="108"/>
                  </a:cubicBezTo>
                  <a:cubicBezTo>
                    <a:pt x="3109" y="95"/>
                    <a:pt x="3128" y="83"/>
                    <a:pt x="3149" y="74"/>
                  </a:cubicBezTo>
                </a:path>
                <a:path w="3327" h="629" extrusionOk="0">
                  <a:moveTo>
                    <a:pt x="2958" y="301"/>
                  </a:moveTo>
                  <a:cubicBezTo>
                    <a:pt x="2985" y="287"/>
                    <a:pt x="3014" y="272"/>
                    <a:pt x="3043" y="262"/>
                  </a:cubicBezTo>
                  <a:cubicBezTo>
                    <a:pt x="3068" y="254"/>
                    <a:pt x="3086" y="249"/>
                    <a:pt x="3111" y="254"/>
                  </a:cubicBezTo>
                </a:path>
                <a:path w="3327" h="629" extrusionOk="0">
                  <a:moveTo>
                    <a:pt x="2956" y="438"/>
                  </a:moveTo>
                  <a:cubicBezTo>
                    <a:pt x="2953" y="444"/>
                    <a:pt x="2951" y="449"/>
                    <a:pt x="2948" y="455"/>
                  </a:cubicBezTo>
                  <a:cubicBezTo>
                    <a:pt x="2973" y="451"/>
                    <a:pt x="2992" y="443"/>
                    <a:pt x="3013" y="430"/>
                  </a:cubicBezTo>
                  <a:cubicBezTo>
                    <a:pt x="3037" y="415"/>
                    <a:pt x="3062" y="400"/>
                    <a:pt x="3089" y="390"/>
                  </a:cubicBezTo>
                  <a:cubicBezTo>
                    <a:pt x="3126" y="376"/>
                    <a:pt x="3132" y="395"/>
                    <a:pt x="3164" y="405"/>
                  </a:cubicBezTo>
                </a:path>
                <a:path w="3327" h="629" extrusionOk="0">
                  <a:moveTo>
                    <a:pt x="3126" y="241"/>
                  </a:moveTo>
                  <a:cubicBezTo>
                    <a:pt x="3152" y="224"/>
                    <a:pt x="3178" y="207"/>
                    <a:pt x="3201" y="186"/>
                  </a:cubicBezTo>
                  <a:cubicBezTo>
                    <a:pt x="3227" y="163"/>
                    <a:pt x="3250" y="135"/>
                    <a:pt x="3276" y="111"/>
                  </a:cubicBezTo>
                  <a:cubicBezTo>
                    <a:pt x="3291" y="99"/>
                    <a:pt x="3295" y="95"/>
                    <a:pt x="3307" y="91"/>
                  </a:cubicBezTo>
                </a:path>
                <a:path w="3327" h="629" extrusionOk="0">
                  <a:moveTo>
                    <a:pt x="3166" y="287"/>
                  </a:moveTo>
                  <a:cubicBezTo>
                    <a:pt x="3163" y="293"/>
                    <a:pt x="3161" y="298"/>
                    <a:pt x="3158" y="304"/>
                  </a:cubicBezTo>
                  <a:cubicBezTo>
                    <a:pt x="3196" y="295"/>
                    <a:pt x="3215" y="276"/>
                    <a:pt x="3249" y="257"/>
                  </a:cubicBezTo>
                  <a:cubicBezTo>
                    <a:pt x="3275" y="242"/>
                    <a:pt x="3298" y="222"/>
                    <a:pt x="3326" y="214"/>
                  </a:cubicBezTo>
                </a:path>
              </a:pathLst>
            </a:custGeom>
            <a:noFill/>
            <a:ln w="19050" cap="rnd">
              <a:solidFill>
                <a:schemeClr val="tx1"/>
              </a:solidFill>
              <a:round/>
              <a:headEnd/>
              <a:tailEnd/>
            </a:ln>
          </p:spPr>
          <p:txBody>
            <a:bodyPr>
              <a:prstTxWarp prst="textNoShape">
                <a:avLst/>
              </a:prstTxWarp>
            </a:bodyPr>
            <a:lstStyle/>
            <a:p>
              <a:endParaRPr lang="en-US"/>
            </a:p>
          </p:txBody>
        </p:sp>
        <p:sp>
          <p:nvSpPr>
            <p:cNvPr id="40975" name="Freeform 22"/>
            <p:cNvSpPr>
              <a:spLocks noRot="1" noChangeAspect="1" noEditPoints="1" noChangeArrowheads="1" noChangeShapeType="1" noTextEdit="1"/>
            </p:cNvSpPr>
            <p:nvPr/>
          </p:nvSpPr>
          <p:spPr bwMode="auto">
            <a:xfrm>
              <a:off x="7551738" y="3298825"/>
              <a:ext cx="417512" cy="430213"/>
            </a:xfrm>
            <a:custGeom>
              <a:avLst/>
              <a:gdLst>
                <a:gd name="T0" fmla="*/ 0 w 1159"/>
                <a:gd name="T1" fmla="*/ 429853 h 1194"/>
                <a:gd name="T2" fmla="*/ 28459 w 1159"/>
                <a:gd name="T3" fmla="*/ 410756 h 1194"/>
                <a:gd name="T4" fmla="*/ 59078 w 1159"/>
                <a:gd name="T5" fmla="*/ 388056 h 1194"/>
                <a:gd name="T6" fmla="*/ 82494 w 1159"/>
                <a:gd name="T7" fmla="*/ 390939 h 1194"/>
                <a:gd name="T8" fmla="*/ 106269 w 1159"/>
                <a:gd name="T9" fmla="*/ 403190 h 1194"/>
                <a:gd name="T10" fmla="*/ 81773 w 1159"/>
                <a:gd name="T11" fmla="*/ 367158 h 1194"/>
                <a:gd name="T12" fmla="*/ 35663 w 1159"/>
                <a:gd name="T13" fmla="*/ 319237 h 1194"/>
                <a:gd name="T14" fmla="*/ 61240 w 1159"/>
                <a:gd name="T15" fmla="*/ 293655 h 1194"/>
                <a:gd name="T16" fmla="*/ 132927 w 1159"/>
                <a:gd name="T17" fmla="*/ 285728 h 1194"/>
                <a:gd name="T18" fmla="*/ 171832 w 1159"/>
                <a:gd name="T19" fmla="*/ 305905 h 1194"/>
                <a:gd name="T20" fmla="*/ 158143 w 1159"/>
                <a:gd name="T21" fmla="*/ 344819 h 1194"/>
                <a:gd name="T22" fmla="*/ 138330 w 1159"/>
                <a:gd name="T23" fmla="*/ 363555 h 1194"/>
                <a:gd name="T24" fmla="*/ 169310 w 1159"/>
                <a:gd name="T25" fmla="*/ 250417 h 1194"/>
                <a:gd name="T26" fmla="*/ 202452 w 1159"/>
                <a:gd name="T27" fmla="*/ 266631 h 1194"/>
                <a:gd name="T28" fmla="*/ 228749 w 1159"/>
                <a:gd name="T29" fmla="*/ 279242 h 1194"/>
                <a:gd name="T30" fmla="*/ 234153 w 1159"/>
                <a:gd name="T31" fmla="*/ 279602 h 1194"/>
                <a:gd name="T32" fmla="*/ 120679 w 1159"/>
                <a:gd name="T33" fmla="*/ 219791 h 1194"/>
                <a:gd name="T34" fmla="*/ 151299 w 1159"/>
                <a:gd name="T35" fmla="*/ 199613 h 1194"/>
                <a:gd name="T36" fmla="*/ 192365 w 1159"/>
                <a:gd name="T37" fmla="*/ 194208 h 1194"/>
                <a:gd name="T38" fmla="*/ 182639 w 1159"/>
                <a:gd name="T39" fmla="*/ 223394 h 1194"/>
                <a:gd name="T40" fmla="*/ 167149 w 1159"/>
                <a:gd name="T41" fmla="*/ 229519 h 1194"/>
                <a:gd name="T42" fmla="*/ 212538 w 1159"/>
                <a:gd name="T43" fmla="*/ 224475 h 1194"/>
                <a:gd name="T44" fmla="*/ 251084 w 1159"/>
                <a:gd name="T45" fmla="*/ 225195 h 1194"/>
                <a:gd name="T46" fmla="*/ 259369 w 1159"/>
                <a:gd name="T47" fmla="*/ 247535 h 1194"/>
                <a:gd name="T48" fmla="*/ 239196 w 1159"/>
                <a:gd name="T49" fmla="*/ 270234 h 1194"/>
                <a:gd name="T50" fmla="*/ 230190 w 1159"/>
                <a:gd name="T51" fmla="*/ 273837 h 1194"/>
                <a:gd name="T52" fmla="*/ 282424 w 1159"/>
                <a:gd name="T53" fmla="*/ 219070 h 1194"/>
                <a:gd name="T54" fmla="*/ 279902 w 1159"/>
                <a:gd name="T55" fmla="*/ 198172 h 1194"/>
                <a:gd name="T56" fmla="*/ 252164 w 1159"/>
                <a:gd name="T57" fmla="*/ 141963 h 1194"/>
                <a:gd name="T58" fmla="*/ 207135 w 1159"/>
                <a:gd name="T59" fmla="*/ 87916 h 1194"/>
                <a:gd name="T60" fmla="*/ 244599 w 1159"/>
                <a:gd name="T61" fmla="*/ 116381 h 1194"/>
                <a:gd name="T62" fmla="*/ 286387 w 1159"/>
                <a:gd name="T63" fmla="*/ 142684 h 1194"/>
                <a:gd name="T64" fmla="*/ 300796 w 1159"/>
                <a:gd name="T65" fmla="*/ 155295 h 1194"/>
                <a:gd name="T66" fmla="*/ 220464 w 1159"/>
                <a:gd name="T67" fmla="*/ 152772 h 1194"/>
                <a:gd name="T68" fmla="*/ 266213 w 1159"/>
                <a:gd name="T69" fmla="*/ 116381 h 1194"/>
                <a:gd name="T70" fmla="*/ 292511 w 1159"/>
                <a:gd name="T71" fmla="*/ 87556 h 1194"/>
                <a:gd name="T72" fmla="*/ 278822 w 1159"/>
                <a:gd name="T73" fmla="*/ 106652 h 1194"/>
                <a:gd name="T74" fmla="*/ 316646 w 1159"/>
                <a:gd name="T75" fmla="*/ 125028 h 1194"/>
                <a:gd name="T76" fmla="*/ 338621 w 1159"/>
                <a:gd name="T77" fmla="*/ 104130 h 1194"/>
                <a:gd name="T78" fmla="*/ 332857 w 1159"/>
                <a:gd name="T79" fmla="*/ 68459 h 1194"/>
                <a:gd name="T80" fmla="*/ 305839 w 1159"/>
                <a:gd name="T81" fmla="*/ 40715 h 1194"/>
                <a:gd name="T82" fmla="*/ 297914 w 1159"/>
                <a:gd name="T83" fmla="*/ 37833 h 1194"/>
                <a:gd name="T84" fmla="*/ 334658 w 1159"/>
                <a:gd name="T85" fmla="*/ 68820 h 1194"/>
                <a:gd name="T86" fmla="*/ 364918 w 1159"/>
                <a:gd name="T87" fmla="*/ 82512 h 1194"/>
                <a:gd name="T88" fmla="*/ 363117 w 1159"/>
                <a:gd name="T89" fmla="*/ 0 h 1194"/>
                <a:gd name="T90" fmla="*/ 350869 w 1159"/>
                <a:gd name="T91" fmla="*/ 26303 h 1194"/>
                <a:gd name="T92" fmla="*/ 320249 w 1159"/>
                <a:gd name="T93" fmla="*/ 72423 h 1194"/>
                <a:gd name="T94" fmla="*/ 315926 w 1159"/>
                <a:gd name="T95" fmla="*/ 96564 h 1194"/>
                <a:gd name="T96" fmla="*/ 362756 w 1159"/>
                <a:gd name="T97" fmla="*/ 78548 h 1194"/>
                <a:gd name="T98" fmla="*/ 417152 w 1159"/>
                <a:gd name="T99" fmla="*/ 44318 h 119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59"/>
                <a:gd name="T151" fmla="*/ 0 h 1194"/>
                <a:gd name="T152" fmla="*/ 1159 w 1159"/>
                <a:gd name="T153" fmla="*/ 1194 h 119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59" h="1194" extrusionOk="0">
                  <a:moveTo>
                    <a:pt x="0" y="1193"/>
                  </a:moveTo>
                  <a:cubicBezTo>
                    <a:pt x="30" y="1178"/>
                    <a:pt x="52" y="1160"/>
                    <a:pt x="79" y="1140"/>
                  </a:cubicBezTo>
                  <a:cubicBezTo>
                    <a:pt x="107" y="1119"/>
                    <a:pt x="135" y="1097"/>
                    <a:pt x="164" y="1077"/>
                  </a:cubicBezTo>
                  <a:cubicBezTo>
                    <a:pt x="196" y="1056"/>
                    <a:pt x="204" y="1061"/>
                    <a:pt x="229" y="1085"/>
                  </a:cubicBezTo>
                  <a:cubicBezTo>
                    <a:pt x="251" y="1106"/>
                    <a:pt x="266" y="1111"/>
                    <a:pt x="295" y="1119"/>
                  </a:cubicBezTo>
                  <a:cubicBezTo>
                    <a:pt x="306" y="1073"/>
                    <a:pt x="266" y="1052"/>
                    <a:pt x="227" y="1019"/>
                  </a:cubicBezTo>
                  <a:cubicBezTo>
                    <a:pt x="184" y="982"/>
                    <a:pt x="121" y="941"/>
                    <a:pt x="99" y="886"/>
                  </a:cubicBezTo>
                  <a:cubicBezTo>
                    <a:pt x="80" y="838"/>
                    <a:pt x="137" y="826"/>
                    <a:pt x="170" y="815"/>
                  </a:cubicBezTo>
                  <a:cubicBezTo>
                    <a:pt x="235" y="794"/>
                    <a:pt x="302" y="790"/>
                    <a:pt x="369" y="793"/>
                  </a:cubicBezTo>
                  <a:cubicBezTo>
                    <a:pt x="411" y="795"/>
                    <a:pt x="464" y="800"/>
                    <a:pt x="477" y="849"/>
                  </a:cubicBezTo>
                  <a:cubicBezTo>
                    <a:pt x="488" y="890"/>
                    <a:pt x="459" y="928"/>
                    <a:pt x="439" y="957"/>
                  </a:cubicBezTo>
                  <a:cubicBezTo>
                    <a:pt x="418" y="987"/>
                    <a:pt x="415" y="992"/>
                    <a:pt x="384" y="1009"/>
                  </a:cubicBezTo>
                </a:path>
                <a:path w="1159" h="1194" extrusionOk="0">
                  <a:moveTo>
                    <a:pt x="470" y="695"/>
                  </a:moveTo>
                  <a:cubicBezTo>
                    <a:pt x="501" y="710"/>
                    <a:pt x="531" y="725"/>
                    <a:pt x="562" y="740"/>
                  </a:cubicBezTo>
                  <a:cubicBezTo>
                    <a:pt x="584" y="751"/>
                    <a:pt x="612" y="768"/>
                    <a:pt x="635" y="775"/>
                  </a:cubicBezTo>
                  <a:cubicBezTo>
                    <a:pt x="640" y="775"/>
                    <a:pt x="645" y="776"/>
                    <a:pt x="650" y="776"/>
                  </a:cubicBezTo>
                </a:path>
                <a:path w="1159" h="1194" extrusionOk="0">
                  <a:moveTo>
                    <a:pt x="335" y="610"/>
                  </a:moveTo>
                  <a:cubicBezTo>
                    <a:pt x="332" y="572"/>
                    <a:pt x="373" y="571"/>
                    <a:pt x="420" y="554"/>
                  </a:cubicBezTo>
                  <a:cubicBezTo>
                    <a:pt x="451" y="543"/>
                    <a:pt x="501" y="525"/>
                    <a:pt x="534" y="539"/>
                  </a:cubicBezTo>
                  <a:cubicBezTo>
                    <a:pt x="588" y="561"/>
                    <a:pt x="534" y="604"/>
                    <a:pt x="507" y="620"/>
                  </a:cubicBezTo>
                  <a:cubicBezTo>
                    <a:pt x="484" y="630"/>
                    <a:pt x="479" y="633"/>
                    <a:pt x="464" y="637"/>
                  </a:cubicBezTo>
                  <a:cubicBezTo>
                    <a:pt x="507" y="636"/>
                    <a:pt x="548" y="627"/>
                    <a:pt x="590" y="623"/>
                  </a:cubicBezTo>
                  <a:cubicBezTo>
                    <a:pt x="623" y="620"/>
                    <a:pt x="664" y="619"/>
                    <a:pt x="697" y="625"/>
                  </a:cubicBezTo>
                  <a:cubicBezTo>
                    <a:pt x="731" y="632"/>
                    <a:pt x="735" y="662"/>
                    <a:pt x="720" y="687"/>
                  </a:cubicBezTo>
                  <a:cubicBezTo>
                    <a:pt x="706" y="711"/>
                    <a:pt x="690" y="737"/>
                    <a:pt x="664" y="750"/>
                  </a:cubicBezTo>
                  <a:cubicBezTo>
                    <a:pt x="656" y="753"/>
                    <a:pt x="647" y="757"/>
                    <a:pt x="639" y="760"/>
                  </a:cubicBezTo>
                </a:path>
                <a:path w="1159" h="1194" extrusionOk="0">
                  <a:moveTo>
                    <a:pt x="784" y="608"/>
                  </a:moveTo>
                  <a:cubicBezTo>
                    <a:pt x="811" y="609"/>
                    <a:pt x="789" y="582"/>
                    <a:pt x="777" y="550"/>
                  </a:cubicBezTo>
                  <a:cubicBezTo>
                    <a:pt x="757" y="494"/>
                    <a:pt x="732" y="444"/>
                    <a:pt x="700" y="394"/>
                  </a:cubicBezTo>
                  <a:cubicBezTo>
                    <a:pt x="665" y="338"/>
                    <a:pt x="624" y="288"/>
                    <a:pt x="575" y="244"/>
                  </a:cubicBezTo>
                  <a:cubicBezTo>
                    <a:pt x="605" y="277"/>
                    <a:pt x="642" y="297"/>
                    <a:pt x="679" y="323"/>
                  </a:cubicBezTo>
                  <a:cubicBezTo>
                    <a:pt x="717" y="349"/>
                    <a:pt x="758" y="369"/>
                    <a:pt x="795" y="396"/>
                  </a:cubicBezTo>
                  <a:cubicBezTo>
                    <a:pt x="816" y="413"/>
                    <a:pt x="822" y="418"/>
                    <a:pt x="835" y="431"/>
                  </a:cubicBezTo>
                </a:path>
                <a:path w="1159" h="1194" extrusionOk="0">
                  <a:moveTo>
                    <a:pt x="612" y="424"/>
                  </a:moveTo>
                  <a:cubicBezTo>
                    <a:pt x="653" y="390"/>
                    <a:pt x="697" y="355"/>
                    <a:pt x="739" y="323"/>
                  </a:cubicBezTo>
                  <a:cubicBezTo>
                    <a:pt x="770" y="299"/>
                    <a:pt x="797" y="276"/>
                    <a:pt x="812" y="243"/>
                  </a:cubicBezTo>
                  <a:cubicBezTo>
                    <a:pt x="785" y="246"/>
                    <a:pt x="765" y="260"/>
                    <a:pt x="774" y="296"/>
                  </a:cubicBezTo>
                  <a:cubicBezTo>
                    <a:pt x="787" y="344"/>
                    <a:pt x="834" y="362"/>
                    <a:pt x="879" y="347"/>
                  </a:cubicBezTo>
                  <a:cubicBezTo>
                    <a:pt x="899" y="341"/>
                    <a:pt x="933" y="310"/>
                    <a:pt x="940" y="289"/>
                  </a:cubicBezTo>
                  <a:cubicBezTo>
                    <a:pt x="951" y="255"/>
                    <a:pt x="942" y="219"/>
                    <a:pt x="924" y="190"/>
                  </a:cubicBezTo>
                  <a:cubicBezTo>
                    <a:pt x="907" y="163"/>
                    <a:pt x="877" y="129"/>
                    <a:pt x="849" y="113"/>
                  </a:cubicBezTo>
                  <a:cubicBezTo>
                    <a:pt x="842" y="110"/>
                    <a:pt x="834" y="108"/>
                    <a:pt x="827" y="105"/>
                  </a:cubicBezTo>
                  <a:cubicBezTo>
                    <a:pt x="856" y="143"/>
                    <a:pt x="889" y="165"/>
                    <a:pt x="929" y="191"/>
                  </a:cubicBezTo>
                  <a:cubicBezTo>
                    <a:pt x="955" y="208"/>
                    <a:pt x="984" y="219"/>
                    <a:pt x="1013" y="229"/>
                  </a:cubicBezTo>
                </a:path>
                <a:path w="1159" h="1194" extrusionOk="0">
                  <a:moveTo>
                    <a:pt x="1008" y="0"/>
                  </a:moveTo>
                  <a:cubicBezTo>
                    <a:pt x="1017" y="40"/>
                    <a:pt x="993" y="41"/>
                    <a:pt x="974" y="73"/>
                  </a:cubicBezTo>
                  <a:cubicBezTo>
                    <a:pt x="947" y="117"/>
                    <a:pt x="917" y="157"/>
                    <a:pt x="889" y="201"/>
                  </a:cubicBezTo>
                  <a:cubicBezTo>
                    <a:pt x="868" y="234"/>
                    <a:pt x="865" y="238"/>
                    <a:pt x="877" y="268"/>
                  </a:cubicBezTo>
                  <a:cubicBezTo>
                    <a:pt x="920" y="255"/>
                    <a:pt x="967" y="236"/>
                    <a:pt x="1007" y="218"/>
                  </a:cubicBezTo>
                  <a:cubicBezTo>
                    <a:pt x="1061" y="194"/>
                    <a:pt x="1110" y="157"/>
                    <a:pt x="1158" y="123"/>
                  </a:cubicBezTo>
                </a:path>
              </a:pathLst>
            </a:custGeom>
            <a:noFill/>
            <a:ln w="19050" cap="rnd">
              <a:solidFill>
                <a:schemeClr val="tx1"/>
              </a:solidFill>
              <a:round/>
              <a:headEnd/>
              <a:tailEnd/>
            </a:ln>
          </p:spPr>
          <p:txBody>
            <a:bodyPr>
              <a:prstTxWarp prst="textNoShape">
                <a:avLst/>
              </a:prstTxWarp>
            </a:bodyPr>
            <a:lstStyle/>
            <a:p>
              <a:endParaRPr lang="en-US"/>
            </a:p>
          </p:txBody>
        </p:sp>
        <p:sp>
          <p:nvSpPr>
            <p:cNvPr id="40976" name="Freeform 23"/>
            <p:cNvSpPr>
              <a:spLocks noRot="1" noChangeAspect="1" noEditPoints="1" noChangeArrowheads="1" noChangeShapeType="1" noTextEdit="1"/>
            </p:cNvSpPr>
            <p:nvPr/>
          </p:nvSpPr>
          <p:spPr bwMode="auto">
            <a:xfrm>
              <a:off x="6889750" y="1220788"/>
              <a:ext cx="1184275" cy="466725"/>
            </a:xfrm>
            <a:custGeom>
              <a:avLst/>
              <a:gdLst>
                <a:gd name="T0" fmla="*/ 12599 w 3290"/>
                <a:gd name="T1" fmla="*/ 83254 h 1295"/>
                <a:gd name="T2" fmla="*/ 29877 w 3290"/>
                <a:gd name="T3" fmla="*/ 145604 h 1295"/>
                <a:gd name="T4" fmla="*/ 1080 w 3290"/>
                <a:gd name="T5" fmla="*/ 54421 h 1295"/>
                <a:gd name="T6" fmla="*/ 88551 w 3290"/>
                <a:gd name="T7" fmla="*/ 2162 h 1295"/>
                <a:gd name="T8" fmla="*/ 86751 w 3290"/>
                <a:gd name="T9" fmla="*/ 43609 h 1295"/>
                <a:gd name="T10" fmla="*/ 164143 w 3290"/>
                <a:gd name="T11" fmla="*/ 98030 h 1295"/>
                <a:gd name="T12" fmla="*/ 183581 w 3290"/>
                <a:gd name="T13" fmla="*/ 25589 h 1295"/>
                <a:gd name="T14" fmla="*/ 235775 w 3290"/>
                <a:gd name="T15" fmla="*/ 24508 h 1295"/>
                <a:gd name="T16" fmla="*/ 217777 w 3290"/>
                <a:gd name="T17" fmla="*/ 55502 h 1295"/>
                <a:gd name="T18" fmla="*/ 227136 w 3290"/>
                <a:gd name="T19" fmla="*/ 67396 h 1295"/>
                <a:gd name="T20" fmla="*/ 289049 w 3290"/>
                <a:gd name="T21" fmla="*/ 49736 h 1295"/>
                <a:gd name="T22" fmla="*/ 309927 w 3290"/>
                <a:gd name="T23" fmla="*/ 89741 h 1295"/>
                <a:gd name="T24" fmla="*/ 364642 w 3290"/>
                <a:gd name="T25" fmla="*/ 76046 h 1295"/>
                <a:gd name="T26" fmla="*/ 335125 w 3290"/>
                <a:gd name="T27" fmla="*/ 51538 h 1295"/>
                <a:gd name="T28" fmla="*/ 469390 w 3290"/>
                <a:gd name="T29" fmla="*/ 58025 h 1295"/>
                <a:gd name="T30" fmla="*/ 479829 w 3290"/>
                <a:gd name="T31" fmla="*/ 132990 h 1295"/>
                <a:gd name="T32" fmla="*/ 424035 w 3290"/>
                <a:gd name="T33" fmla="*/ 50096 h 1295"/>
                <a:gd name="T34" fmla="*/ 525185 w 3290"/>
                <a:gd name="T35" fmla="*/ 44690 h 1295"/>
                <a:gd name="T36" fmla="*/ 534904 w 3290"/>
                <a:gd name="T37" fmla="*/ 103076 h 1295"/>
                <a:gd name="T38" fmla="*/ 538503 w 3290"/>
                <a:gd name="T39" fmla="*/ 142360 h 1295"/>
                <a:gd name="T40" fmla="*/ 602576 w 3290"/>
                <a:gd name="T41" fmla="*/ 88660 h 1295"/>
                <a:gd name="T42" fmla="*/ 538503 w 3290"/>
                <a:gd name="T43" fmla="*/ 76406 h 1295"/>
                <a:gd name="T44" fmla="*/ 676369 w 3290"/>
                <a:gd name="T45" fmla="*/ 142000 h 1295"/>
                <a:gd name="T46" fmla="*/ 670969 w 3290"/>
                <a:gd name="T47" fmla="*/ 200025 h 1295"/>
                <a:gd name="T48" fmla="*/ 693647 w 3290"/>
                <a:gd name="T49" fmla="*/ 73523 h 1295"/>
                <a:gd name="T50" fmla="*/ 764559 w 3290"/>
                <a:gd name="T51" fmla="*/ 85416 h 1295"/>
                <a:gd name="T52" fmla="*/ 785077 w 3290"/>
                <a:gd name="T53" fmla="*/ 127944 h 1295"/>
                <a:gd name="T54" fmla="*/ 857070 w 3290"/>
                <a:gd name="T55" fmla="*/ 87218 h 1295"/>
                <a:gd name="T56" fmla="*/ 805955 w 3290"/>
                <a:gd name="T57" fmla="*/ 190294 h 1295"/>
                <a:gd name="T58" fmla="*/ 838352 w 3290"/>
                <a:gd name="T59" fmla="*/ 203629 h 1295"/>
                <a:gd name="T60" fmla="*/ 849870 w 3290"/>
                <a:gd name="T61" fmla="*/ 241832 h 1295"/>
                <a:gd name="T62" fmla="*/ 894146 w 3290"/>
                <a:gd name="T63" fmla="*/ 124340 h 1295"/>
                <a:gd name="T64" fmla="*/ 920063 w 3290"/>
                <a:gd name="T65" fmla="*/ 156776 h 1295"/>
                <a:gd name="T66" fmla="*/ 868948 w 3290"/>
                <a:gd name="T67" fmla="*/ 182726 h 1295"/>
                <a:gd name="T68" fmla="*/ 972257 w 3290"/>
                <a:gd name="T69" fmla="*/ 182726 h 1295"/>
                <a:gd name="T70" fmla="*/ 945620 w 3290"/>
                <a:gd name="T71" fmla="*/ 249040 h 1295"/>
                <a:gd name="T72" fmla="*/ 1025532 w 3290"/>
                <a:gd name="T73" fmla="*/ 226335 h 1295"/>
                <a:gd name="T74" fmla="*/ 993135 w 3290"/>
                <a:gd name="T75" fmla="*/ 305263 h 1295"/>
                <a:gd name="T76" fmla="*/ 1023012 w 3290"/>
                <a:gd name="T77" fmla="*/ 236426 h 1295"/>
                <a:gd name="T78" fmla="*/ 1061888 w 3290"/>
                <a:gd name="T79" fmla="*/ 291568 h 1295"/>
                <a:gd name="T80" fmla="*/ 1071607 w 3290"/>
                <a:gd name="T81" fmla="*/ 234624 h 1295"/>
                <a:gd name="T82" fmla="*/ 1121282 w 3290"/>
                <a:gd name="T83" fmla="*/ 281837 h 1295"/>
                <a:gd name="T84" fmla="*/ 1081686 w 3290"/>
                <a:gd name="T85" fmla="*/ 349233 h 1295"/>
                <a:gd name="T86" fmla="*/ 1081686 w 3290"/>
                <a:gd name="T87" fmla="*/ 404735 h 1295"/>
                <a:gd name="T88" fmla="*/ 1105803 w 3290"/>
                <a:gd name="T89" fmla="*/ 403654 h 1295"/>
                <a:gd name="T90" fmla="*/ 1164117 w 3290"/>
                <a:gd name="T91" fmla="*/ 413025 h 1295"/>
                <a:gd name="T92" fmla="*/ 1178876 w 3290"/>
                <a:gd name="T93" fmla="*/ 466365 h 129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290"/>
                <a:gd name="T142" fmla="*/ 0 h 1295"/>
                <a:gd name="T143" fmla="*/ 3290 w 3290"/>
                <a:gd name="T144" fmla="*/ 1295 h 129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290" h="1295" extrusionOk="0">
                  <a:moveTo>
                    <a:pt x="20" y="229"/>
                  </a:moveTo>
                  <a:cubicBezTo>
                    <a:pt x="25" y="230"/>
                    <a:pt x="30" y="230"/>
                    <a:pt x="35" y="231"/>
                  </a:cubicBezTo>
                  <a:cubicBezTo>
                    <a:pt x="34" y="262"/>
                    <a:pt x="37" y="287"/>
                    <a:pt x="45" y="317"/>
                  </a:cubicBezTo>
                  <a:cubicBezTo>
                    <a:pt x="53" y="348"/>
                    <a:pt x="62" y="378"/>
                    <a:pt x="83" y="404"/>
                  </a:cubicBezTo>
                  <a:cubicBezTo>
                    <a:pt x="90" y="410"/>
                    <a:pt x="96" y="417"/>
                    <a:pt x="103" y="423"/>
                  </a:cubicBezTo>
                </a:path>
                <a:path w="3290" h="1295" extrusionOk="0">
                  <a:moveTo>
                    <a:pt x="3" y="151"/>
                  </a:moveTo>
                  <a:cubicBezTo>
                    <a:pt x="15" y="114"/>
                    <a:pt x="51" y="98"/>
                    <a:pt x="88" y="76"/>
                  </a:cubicBezTo>
                  <a:cubicBezTo>
                    <a:pt x="138" y="47"/>
                    <a:pt x="190" y="22"/>
                    <a:pt x="246" y="6"/>
                  </a:cubicBezTo>
                  <a:cubicBezTo>
                    <a:pt x="272" y="1"/>
                    <a:pt x="280" y="-2"/>
                    <a:pt x="296" y="6"/>
                  </a:cubicBezTo>
                  <a:cubicBezTo>
                    <a:pt x="295" y="57"/>
                    <a:pt x="277" y="81"/>
                    <a:pt x="241" y="121"/>
                  </a:cubicBezTo>
                  <a:cubicBezTo>
                    <a:pt x="210" y="156"/>
                    <a:pt x="179" y="181"/>
                    <a:pt x="145" y="211"/>
                  </a:cubicBezTo>
                </a:path>
                <a:path w="3290" h="1295" extrusionOk="0">
                  <a:moveTo>
                    <a:pt x="456" y="272"/>
                  </a:moveTo>
                  <a:cubicBezTo>
                    <a:pt x="472" y="289"/>
                    <a:pt x="483" y="298"/>
                    <a:pt x="503" y="310"/>
                  </a:cubicBezTo>
                </a:path>
                <a:path w="3290" h="1295" extrusionOk="0">
                  <a:moveTo>
                    <a:pt x="510" y="71"/>
                  </a:moveTo>
                  <a:cubicBezTo>
                    <a:pt x="526" y="40"/>
                    <a:pt x="546" y="34"/>
                    <a:pt x="583" y="45"/>
                  </a:cubicBezTo>
                  <a:cubicBezTo>
                    <a:pt x="605" y="51"/>
                    <a:pt x="634" y="58"/>
                    <a:pt x="655" y="68"/>
                  </a:cubicBezTo>
                  <a:cubicBezTo>
                    <a:pt x="662" y="72"/>
                    <a:pt x="669" y="77"/>
                    <a:pt x="676" y="81"/>
                  </a:cubicBezTo>
                  <a:cubicBezTo>
                    <a:pt x="658" y="111"/>
                    <a:pt x="634" y="133"/>
                    <a:pt x="605" y="154"/>
                  </a:cubicBezTo>
                  <a:cubicBezTo>
                    <a:pt x="586" y="168"/>
                    <a:pt x="570" y="182"/>
                    <a:pt x="550" y="194"/>
                  </a:cubicBezTo>
                  <a:cubicBezTo>
                    <a:pt x="575" y="216"/>
                    <a:pt x="596" y="197"/>
                    <a:pt x="631" y="187"/>
                  </a:cubicBezTo>
                  <a:cubicBezTo>
                    <a:pt x="676" y="175"/>
                    <a:pt x="721" y="162"/>
                    <a:pt x="765" y="148"/>
                  </a:cubicBezTo>
                  <a:cubicBezTo>
                    <a:pt x="784" y="140"/>
                    <a:pt x="789" y="137"/>
                    <a:pt x="803" y="138"/>
                  </a:cubicBezTo>
                  <a:cubicBezTo>
                    <a:pt x="812" y="166"/>
                    <a:pt x="789" y="184"/>
                    <a:pt x="796" y="209"/>
                  </a:cubicBezTo>
                  <a:cubicBezTo>
                    <a:pt x="802" y="233"/>
                    <a:pt x="842" y="241"/>
                    <a:pt x="861" y="249"/>
                  </a:cubicBezTo>
                  <a:cubicBezTo>
                    <a:pt x="884" y="259"/>
                    <a:pt x="903" y="262"/>
                    <a:pt x="928" y="257"/>
                  </a:cubicBezTo>
                  <a:cubicBezTo>
                    <a:pt x="960" y="250"/>
                    <a:pt x="988" y="232"/>
                    <a:pt x="1013" y="211"/>
                  </a:cubicBezTo>
                  <a:cubicBezTo>
                    <a:pt x="1027" y="199"/>
                    <a:pt x="1059" y="167"/>
                    <a:pt x="1041" y="146"/>
                  </a:cubicBezTo>
                  <a:cubicBezTo>
                    <a:pt x="1019" y="120"/>
                    <a:pt x="957" y="137"/>
                    <a:pt x="931" y="143"/>
                  </a:cubicBezTo>
                  <a:cubicBezTo>
                    <a:pt x="900" y="150"/>
                    <a:pt x="871" y="161"/>
                    <a:pt x="841" y="169"/>
                  </a:cubicBezTo>
                </a:path>
                <a:path w="3290" h="1295" extrusionOk="0">
                  <a:moveTo>
                    <a:pt x="1304" y="161"/>
                  </a:moveTo>
                  <a:cubicBezTo>
                    <a:pt x="1313" y="196"/>
                    <a:pt x="1330" y="229"/>
                    <a:pt x="1333" y="266"/>
                  </a:cubicBezTo>
                  <a:cubicBezTo>
                    <a:pt x="1336" y="302"/>
                    <a:pt x="1334" y="334"/>
                    <a:pt x="1333" y="369"/>
                  </a:cubicBezTo>
                  <a:cubicBezTo>
                    <a:pt x="1333" y="390"/>
                    <a:pt x="1334" y="395"/>
                    <a:pt x="1329" y="407"/>
                  </a:cubicBezTo>
                </a:path>
                <a:path w="3290" h="1295" extrusionOk="0">
                  <a:moveTo>
                    <a:pt x="1178" y="139"/>
                  </a:moveTo>
                  <a:cubicBezTo>
                    <a:pt x="1224" y="132"/>
                    <a:pt x="1269" y="128"/>
                    <a:pt x="1316" y="126"/>
                  </a:cubicBezTo>
                  <a:cubicBezTo>
                    <a:pt x="1360" y="124"/>
                    <a:pt x="1415" y="115"/>
                    <a:pt x="1459" y="124"/>
                  </a:cubicBezTo>
                  <a:cubicBezTo>
                    <a:pt x="1495" y="131"/>
                    <a:pt x="1507" y="154"/>
                    <a:pt x="1503" y="187"/>
                  </a:cubicBezTo>
                  <a:cubicBezTo>
                    <a:pt x="1499" y="220"/>
                    <a:pt x="1489" y="253"/>
                    <a:pt x="1486" y="286"/>
                  </a:cubicBezTo>
                  <a:cubicBezTo>
                    <a:pt x="1484" y="308"/>
                    <a:pt x="1475" y="354"/>
                    <a:pt x="1483" y="375"/>
                  </a:cubicBezTo>
                  <a:cubicBezTo>
                    <a:pt x="1487" y="382"/>
                    <a:pt x="1492" y="388"/>
                    <a:pt x="1496" y="395"/>
                  </a:cubicBezTo>
                  <a:cubicBezTo>
                    <a:pt x="1538" y="389"/>
                    <a:pt x="1557" y="377"/>
                    <a:pt x="1589" y="347"/>
                  </a:cubicBezTo>
                  <a:cubicBezTo>
                    <a:pt x="1622" y="316"/>
                    <a:pt x="1656" y="289"/>
                    <a:pt x="1674" y="246"/>
                  </a:cubicBezTo>
                  <a:cubicBezTo>
                    <a:pt x="1695" y="194"/>
                    <a:pt x="1649" y="189"/>
                    <a:pt x="1611" y="186"/>
                  </a:cubicBezTo>
                  <a:cubicBezTo>
                    <a:pt x="1568" y="183"/>
                    <a:pt x="1535" y="195"/>
                    <a:pt x="1496" y="212"/>
                  </a:cubicBezTo>
                </a:path>
                <a:path w="3290" h="1295" extrusionOk="0">
                  <a:moveTo>
                    <a:pt x="1947" y="284"/>
                  </a:moveTo>
                  <a:cubicBezTo>
                    <a:pt x="1920" y="321"/>
                    <a:pt x="1897" y="352"/>
                    <a:pt x="1879" y="394"/>
                  </a:cubicBezTo>
                  <a:cubicBezTo>
                    <a:pt x="1862" y="432"/>
                    <a:pt x="1851" y="475"/>
                    <a:pt x="1852" y="517"/>
                  </a:cubicBezTo>
                  <a:cubicBezTo>
                    <a:pt x="1856" y="537"/>
                    <a:pt x="1857" y="543"/>
                    <a:pt x="1864" y="555"/>
                  </a:cubicBezTo>
                </a:path>
                <a:path w="3290" h="1295" extrusionOk="0">
                  <a:moveTo>
                    <a:pt x="1824" y="196"/>
                  </a:moveTo>
                  <a:cubicBezTo>
                    <a:pt x="1859" y="204"/>
                    <a:pt x="1892" y="203"/>
                    <a:pt x="1927" y="204"/>
                  </a:cubicBezTo>
                  <a:cubicBezTo>
                    <a:pt x="1968" y="205"/>
                    <a:pt x="2011" y="199"/>
                    <a:pt x="2051" y="202"/>
                  </a:cubicBezTo>
                  <a:cubicBezTo>
                    <a:pt x="2081" y="204"/>
                    <a:pt x="2110" y="208"/>
                    <a:pt x="2124" y="237"/>
                  </a:cubicBezTo>
                  <a:cubicBezTo>
                    <a:pt x="2132" y="254"/>
                    <a:pt x="2130" y="283"/>
                    <a:pt x="2131" y="302"/>
                  </a:cubicBezTo>
                  <a:cubicBezTo>
                    <a:pt x="2133" y="340"/>
                    <a:pt x="2145" y="349"/>
                    <a:pt x="2181" y="355"/>
                  </a:cubicBezTo>
                  <a:cubicBezTo>
                    <a:pt x="2217" y="361"/>
                    <a:pt x="2245" y="344"/>
                    <a:pt x="2274" y="325"/>
                  </a:cubicBezTo>
                  <a:cubicBezTo>
                    <a:pt x="2311" y="301"/>
                    <a:pt x="2351" y="274"/>
                    <a:pt x="2381" y="242"/>
                  </a:cubicBezTo>
                  <a:cubicBezTo>
                    <a:pt x="2398" y="224"/>
                    <a:pt x="2410" y="202"/>
                    <a:pt x="2424" y="182"/>
                  </a:cubicBezTo>
                </a:path>
                <a:path w="3290" h="1295" extrusionOk="0">
                  <a:moveTo>
                    <a:pt x="2239" y="528"/>
                  </a:moveTo>
                  <a:cubicBezTo>
                    <a:pt x="2232" y="561"/>
                    <a:pt x="2225" y="592"/>
                    <a:pt x="2217" y="625"/>
                  </a:cubicBezTo>
                </a:path>
                <a:path w="3290" h="1295" extrusionOk="0">
                  <a:moveTo>
                    <a:pt x="2329" y="565"/>
                  </a:moveTo>
                  <a:cubicBezTo>
                    <a:pt x="2335" y="589"/>
                    <a:pt x="2342" y="614"/>
                    <a:pt x="2349" y="638"/>
                  </a:cubicBezTo>
                  <a:cubicBezTo>
                    <a:pt x="2354" y="654"/>
                    <a:pt x="2356" y="660"/>
                    <a:pt x="2361" y="671"/>
                  </a:cubicBezTo>
                </a:path>
                <a:path w="3290" h="1295" extrusionOk="0">
                  <a:moveTo>
                    <a:pt x="2407" y="405"/>
                  </a:moveTo>
                  <a:cubicBezTo>
                    <a:pt x="2428" y="381"/>
                    <a:pt x="2454" y="354"/>
                    <a:pt x="2484" y="345"/>
                  </a:cubicBezTo>
                  <a:cubicBezTo>
                    <a:pt x="2507" y="338"/>
                    <a:pt x="2563" y="320"/>
                    <a:pt x="2582" y="347"/>
                  </a:cubicBezTo>
                  <a:cubicBezTo>
                    <a:pt x="2600" y="373"/>
                    <a:pt x="2571" y="415"/>
                    <a:pt x="2556" y="435"/>
                  </a:cubicBezTo>
                  <a:cubicBezTo>
                    <a:pt x="2539" y="458"/>
                    <a:pt x="2511" y="488"/>
                    <a:pt x="2484" y="500"/>
                  </a:cubicBezTo>
                  <a:cubicBezTo>
                    <a:pt x="2459" y="511"/>
                    <a:pt x="2440" y="510"/>
                    <a:pt x="2414" y="507"/>
                  </a:cubicBezTo>
                </a:path>
                <a:path w="3290" h="1295" extrusionOk="0">
                  <a:moveTo>
                    <a:pt x="2726" y="415"/>
                  </a:moveTo>
                  <a:cubicBezTo>
                    <a:pt x="2734" y="451"/>
                    <a:pt x="2716" y="470"/>
                    <a:pt x="2701" y="507"/>
                  </a:cubicBezTo>
                  <a:cubicBezTo>
                    <a:pt x="2686" y="546"/>
                    <a:pt x="2668" y="583"/>
                    <a:pt x="2649" y="621"/>
                  </a:cubicBezTo>
                  <a:cubicBezTo>
                    <a:pt x="2635" y="649"/>
                    <a:pt x="2626" y="660"/>
                    <a:pt x="2627" y="691"/>
                  </a:cubicBezTo>
                </a:path>
                <a:path w="3290" h="1295" extrusionOk="0">
                  <a:moveTo>
                    <a:pt x="2822" y="543"/>
                  </a:moveTo>
                  <a:cubicBezTo>
                    <a:pt x="2842" y="567"/>
                    <a:pt x="2851" y="594"/>
                    <a:pt x="2849" y="628"/>
                  </a:cubicBezTo>
                  <a:cubicBezTo>
                    <a:pt x="2846" y="675"/>
                    <a:pt x="2828" y="727"/>
                    <a:pt x="2811" y="771"/>
                  </a:cubicBezTo>
                  <a:cubicBezTo>
                    <a:pt x="2799" y="801"/>
                    <a:pt x="2784" y="836"/>
                    <a:pt x="2759" y="847"/>
                  </a:cubicBezTo>
                  <a:cubicBezTo>
                    <a:pt x="2759" y="818"/>
                    <a:pt x="2763" y="804"/>
                    <a:pt x="2774" y="777"/>
                  </a:cubicBezTo>
                </a:path>
                <a:path w="3290" h="1295" extrusionOk="0">
                  <a:moveTo>
                    <a:pt x="2842" y="656"/>
                  </a:moveTo>
                  <a:cubicBezTo>
                    <a:pt x="2846" y="690"/>
                    <a:pt x="2850" y="710"/>
                    <a:pt x="2864" y="741"/>
                  </a:cubicBezTo>
                  <a:cubicBezTo>
                    <a:pt x="2882" y="779"/>
                    <a:pt x="2906" y="805"/>
                    <a:pt x="2950" y="809"/>
                  </a:cubicBezTo>
                  <a:cubicBezTo>
                    <a:pt x="2991" y="813"/>
                    <a:pt x="2985" y="767"/>
                    <a:pt x="2987" y="741"/>
                  </a:cubicBezTo>
                  <a:cubicBezTo>
                    <a:pt x="2990" y="711"/>
                    <a:pt x="2984" y="681"/>
                    <a:pt x="2977" y="651"/>
                  </a:cubicBezTo>
                </a:path>
                <a:path w="3290" h="1295" extrusionOk="0">
                  <a:moveTo>
                    <a:pt x="3165" y="706"/>
                  </a:moveTo>
                  <a:cubicBezTo>
                    <a:pt x="3150" y="733"/>
                    <a:pt x="3129" y="758"/>
                    <a:pt x="3115" y="782"/>
                  </a:cubicBezTo>
                  <a:cubicBezTo>
                    <a:pt x="3098" y="812"/>
                    <a:pt x="3080" y="842"/>
                    <a:pt x="3060" y="872"/>
                  </a:cubicBezTo>
                  <a:cubicBezTo>
                    <a:pt x="3039" y="904"/>
                    <a:pt x="3021" y="934"/>
                    <a:pt x="3005" y="969"/>
                  </a:cubicBezTo>
                  <a:cubicBezTo>
                    <a:pt x="2992" y="997"/>
                    <a:pt x="2989" y="1018"/>
                    <a:pt x="2987" y="1048"/>
                  </a:cubicBezTo>
                  <a:cubicBezTo>
                    <a:pt x="2985" y="1075"/>
                    <a:pt x="2996" y="1097"/>
                    <a:pt x="3005" y="1123"/>
                  </a:cubicBezTo>
                </a:path>
                <a:path w="3290" h="1295" extrusionOk="0">
                  <a:moveTo>
                    <a:pt x="3042" y="1143"/>
                  </a:moveTo>
                  <a:cubicBezTo>
                    <a:pt x="3053" y="1124"/>
                    <a:pt x="3055" y="1118"/>
                    <a:pt x="3072" y="1120"/>
                  </a:cubicBezTo>
                </a:path>
                <a:path w="3290" h="1295" extrusionOk="0">
                  <a:moveTo>
                    <a:pt x="3139" y="1072"/>
                  </a:moveTo>
                  <a:cubicBezTo>
                    <a:pt x="3185" y="1087"/>
                    <a:pt x="3204" y="1106"/>
                    <a:pt x="3234" y="1146"/>
                  </a:cubicBezTo>
                  <a:cubicBezTo>
                    <a:pt x="3251" y="1168"/>
                    <a:pt x="3264" y="1191"/>
                    <a:pt x="3277" y="1216"/>
                  </a:cubicBezTo>
                  <a:cubicBezTo>
                    <a:pt x="3294" y="1248"/>
                    <a:pt x="3289" y="1262"/>
                    <a:pt x="3275" y="1294"/>
                  </a:cubicBezTo>
                </a:path>
              </a:pathLst>
            </a:custGeom>
            <a:noFill/>
            <a:ln w="19050" cap="rnd">
              <a:solidFill>
                <a:schemeClr val="tx1"/>
              </a:solidFill>
              <a:round/>
              <a:headEnd/>
              <a:tailEnd/>
            </a:ln>
          </p:spPr>
          <p:txBody>
            <a:bodyPr>
              <a:prstTxWarp prst="textNoShape">
                <a:avLst/>
              </a:prstTxWarp>
            </a:bodyPr>
            <a:lstStyle/>
            <a:p>
              <a:endParaRPr lang="en-US"/>
            </a:p>
          </p:txBody>
        </p:sp>
      </p:grpSp>
      <p:sp>
        <p:nvSpPr>
          <p:cNvPr id="40965" name="Rectangle 11"/>
          <p:cNvSpPr>
            <a:spLocks noChangeArrowheads="1"/>
          </p:cNvSpPr>
          <p:nvPr/>
        </p:nvSpPr>
        <p:spPr bwMode="auto">
          <a:xfrm>
            <a:off x="144463" y="382588"/>
            <a:ext cx="8999537" cy="461962"/>
          </a:xfrm>
          <a:prstGeom prst="rect">
            <a:avLst/>
          </a:prstGeom>
          <a:noFill/>
          <a:ln w="9525">
            <a:noFill/>
            <a:miter lim="800000"/>
            <a:headEnd/>
            <a:tailEnd/>
          </a:ln>
        </p:spPr>
        <p:txBody>
          <a:bodyPr lIns="0" tIns="0" rIns="0" bIns="0">
            <a:prstTxWarp prst="textNoShape">
              <a:avLst/>
            </a:prstTxWarp>
            <a:spAutoFit/>
          </a:bodyPr>
          <a:lstStyle/>
          <a:p>
            <a:pPr defTabSz="895350"/>
            <a:r>
              <a:rPr lang="en-US" sz="3000">
                <a:solidFill>
                  <a:srgbClr val="FF0000"/>
                </a:solidFill>
                <a:latin typeface="Helvetica" pitchFamily="-123" charset="0"/>
                <a:ea typeface="Helvetica" pitchFamily="-123" charset="0"/>
                <a:cs typeface="Helvetica" pitchFamily="-123" charset="0"/>
              </a:rPr>
              <a:t>we will </a:t>
            </a:r>
            <a:r>
              <a:rPr lang="en-US" sz="3000" b="1">
                <a:solidFill>
                  <a:srgbClr val="FF0000"/>
                </a:solidFill>
                <a:latin typeface="Helvetica" pitchFamily="-123" charset="0"/>
                <a:ea typeface="Helvetica" pitchFamily="-123" charset="0"/>
                <a:cs typeface="Helvetica" pitchFamily="-123" charset="0"/>
              </a:rPr>
              <a:t>SELECT </a:t>
            </a:r>
            <a:r>
              <a:rPr lang="en-US" sz="3000">
                <a:solidFill>
                  <a:srgbClr val="FF0000"/>
                </a:solidFill>
                <a:latin typeface="Helvetica" pitchFamily="-123" charset="0"/>
                <a:ea typeface="Helvetica" pitchFamily="-123" charset="0"/>
                <a:cs typeface="Helvetica" pitchFamily="-123" charset="0"/>
              </a:rPr>
              <a:t>and </a:t>
            </a:r>
            <a:r>
              <a:rPr lang="en-US" sz="3000" b="1">
                <a:solidFill>
                  <a:srgbClr val="FF0000"/>
                </a:solidFill>
                <a:latin typeface="Helvetica" pitchFamily="-123" charset="0"/>
                <a:ea typeface="Helvetica" pitchFamily="-123" charset="0"/>
                <a:cs typeface="Helvetica" pitchFamily="-123" charset="0"/>
              </a:rPr>
              <a:t>DEVELOP </a:t>
            </a:r>
            <a:r>
              <a:rPr lang="en-US" sz="3000">
                <a:solidFill>
                  <a:srgbClr val="FF0000"/>
                </a:solidFill>
                <a:latin typeface="Helvetica" pitchFamily="-123" charset="0"/>
                <a:ea typeface="Helvetica" pitchFamily="-123" charset="0"/>
                <a:cs typeface="Helvetica" pitchFamily="-123" charset="0"/>
              </a:rPr>
              <a:t>high potential ideas</a:t>
            </a:r>
            <a:endParaRPr lang="en-US" sz="3000" b="1">
              <a:solidFill>
                <a:srgbClr val="FF0000"/>
              </a:solidFill>
              <a:latin typeface="Helvetica" pitchFamily="-123" charset="0"/>
              <a:ea typeface="Helvetica" pitchFamily="-123" charset="0"/>
              <a:cs typeface="Helvetica" pitchFamily="-123"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3009" name="Rectangle 11"/>
          <p:cNvSpPr>
            <a:spLocks noChangeArrowheads="1"/>
          </p:cNvSpPr>
          <p:nvPr/>
        </p:nvSpPr>
        <p:spPr bwMode="auto">
          <a:xfrm>
            <a:off x="144463" y="382588"/>
            <a:ext cx="8999537" cy="508000"/>
          </a:xfrm>
          <a:prstGeom prst="rect">
            <a:avLst/>
          </a:prstGeom>
          <a:noFill/>
          <a:ln w="9525">
            <a:noFill/>
            <a:miter lim="800000"/>
            <a:headEnd/>
            <a:tailEnd/>
          </a:ln>
        </p:spPr>
        <p:txBody>
          <a:bodyPr lIns="0" tIns="0" rIns="0" bIns="0">
            <a:prstTxWarp prst="textNoShape">
              <a:avLst/>
            </a:prstTxWarp>
            <a:spAutoFit/>
          </a:bodyPr>
          <a:lstStyle/>
          <a:p>
            <a:pPr defTabSz="895350"/>
            <a:r>
              <a:rPr lang="en-US" sz="3300">
                <a:solidFill>
                  <a:srgbClr val="FF0000"/>
                </a:solidFill>
                <a:latin typeface="Helvetica" pitchFamily="-123" charset="0"/>
                <a:ea typeface="Helvetica" pitchFamily="-123" charset="0"/>
                <a:cs typeface="Helvetica" pitchFamily="-123" charset="0"/>
              </a:rPr>
              <a:t>for today </a:t>
            </a:r>
            <a:r>
              <a:rPr lang="en-US" sz="3300" b="1">
                <a:solidFill>
                  <a:srgbClr val="FF0000"/>
                </a:solidFill>
                <a:latin typeface="Helvetica" pitchFamily="-123" charset="0"/>
                <a:ea typeface="Helvetica" pitchFamily="-123" charset="0"/>
                <a:cs typeface="Helvetica" pitchFamily="-123" charset="0"/>
              </a:rPr>
              <a:t>VOTE </a:t>
            </a:r>
            <a:r>
              <a:rPr lang="en-US" sz="3300">
                <a:solidFill>
                  <a:srgbClr val="FF0000"/>
                </a:solidFill>
                <a:latin typeface="Helvetica" pitchFamily="-123" charset="0"/>
                <a:ea typeface="Helvetica" pitchFamily="-123" charset="0"/>
                <a:cs typeface="Helvetica" pitchFamily="-123" charset="0"/>
              </a:rPr>
              <a:t>using these 3 selection criteria</a:t>
            </a:r>
            <a:endParaRPr lang="en-US" sz="3300" b="1">
              <a:solidFill>
                <a:srgbClr val="FF0000"/>
              </a:solidFill>
              <a:latin typeface="Helvetica" pitchFamily="-123" charset="0"/>
              <a:ea typeface="Helvetica" pitchFamily="-123" charset="0"/>
              <a:cs typeface="Helvetica" pitchFamily="-123" charset="0"/>
            </a:endParaRPr>
          </a:p>
        </p:txBody>
      </p:sp>
      <p:sp>
        <p:nvSpPr>
          <p:cNvPr id="43010" name="AutoShape 21"/>
          <p:cNvSpPr>
            <a:spLocks noChangeArrowheads="1"/>
          </p:cNvSpPr>
          <p:nvPr>
            <p:custDataLst>
              <p:tags r:id="rId1"/>
            </p:custDataLst>
          </p:nvPr>
        </p:nvSpPr>
        <p:spPr bwMode="auto">
          <a:xfrm rot="-5400000">
            <a:off x="2081213" y="1231900"/>
            <a:ext cx="2176462" cy="2713038"/>
          </a:xfrm>
          <a:custGeom>
            <a:avLst/>
            <a:gdLst>
              <a:gd name="T0" fmla="*/ 191891803 w 21600"/>
              <a:gd name="T1" fmla="*/ 170383685 h 21600"/>
              <a:gd name="T2" fmla="*/ 109652473 w 21600"/>
              <a:gd name="T3" fmla="*/ 340767370 h 21600"/>
              <a:gd name="T4" fmla="*/ 27413143 w 21600"/>
              <a:gd name="T5" fmla="*/ 170383685 h 21600"/>
              <a:gd name="T6" fmla="*/ 109652473 w 21600"/>
              <a:gd name="T7" fmla="*/ 0 h 21600"/>
              <a:gd name="T8" fmla="*/ 0 60000 65536"/>
              <a:gd name="T9" fmla="*/ 0 60000 65536"/>
              <a:gd name="T10" fmla="*/ 0 60000 65536"/>
              <a:gd name="T11" fmla="*/ 0 60000 65536"/>
              <a:gd name="T12" fmla="*/ 4500 w 21600"/>
              <a:gd name="T13" fmla="*/ 4500 h 21600"/>
              <a:gd name="T14" fmla="*/ 17100 w 21600"/>
              <a:gd name="T15" fmla="*/ 17100 h 21600"/>
            </a:gdLst>
            <a:ahLst/>
            <a:cxnLst>
              <a:cxn ang="T8">
                <a:pos x="T0" y="T1"/>
              </a:cxn>
              <a:cxn ang="T9">
                <a:pos x="T2" y="T3"/>
              </a:cxn>
              <a:cxn ang="T10">
                <a:pos x="T4" y="T5"/>
              </a:cxn>
              <a:cxn ang="T11">
                <a:pos x="T6" y="T7"/>
              </a:cxn>
            </a:cxnLst>
            <a:rect l="T12" t="T13" r="T14" b="T15"/>
            <a:pathLst>
              <a:path w="21600" h="21600">
                <a:moveTo>
                  <a:pt x="0" y="0"/>
                </a:moveTo>
                <a:lnTo>
                  <a:pt x="5400" y="21600"/>
                </a:lnTo>
                <a:lnTo>
                  <a:pt x="16200" y="21600"/>
                </a:lnTo>
                <a:lnTo>
                  <a:pt x="21600" y="0"/>
                </a:lnTo>
                <a:close/>
              </a:path>
            </a:pathLst>
          </a:custGeom>
          <a:solidFill>
            <a:schemeClr val="bg1"/>
          </a:solidFill>
          <a:ln w="9525">
            <a:solidFill>
              <a:schemeClr val="tx1"/>
            </a:solidFill>
            <a:miter lim="800000"/>
            <a:headEnd/>
            <a:tailEnd/>
          </a:ln>
        </p:spPr>
        <p:txBody>
          <a:bodyPr vert="eaVert" wrap="none" anchor="ctr">
            <a:prstTxWarp prst="textNoShape">
              <a:avLst/>
            </a:prstTxWarp>
          </a:bodyPr>
          <a:lstStyle/>
          <a:p>
            <a:pPr algn="ctr"/>
            <a:endParaRPr lang="en-US"/>
          </a:p>
        </p:txBody>
      </p:sp>
      <p:sp>
        <p:nvSpPr>
          <p:cNvPr id="43011" name="Freeform 22"/>
          <p:cNvSpPr>
            <a:spLocks noRot="1" noChangeAspect="1" noEditPoints="1" noChangeArrowheads="1" noChangeShapeType="1" noTextEdit="1"/>
          </p:cNvSpPr>
          <p:nvPr>
            <p:custDataLst>
              <p:tags r:id="rId2"/>
            </p:custDataLst>
          </p:nvPr>
        </p:nvSpPr>
        <p:spPr bwMode="auto">
          <a:xfrm>
            <a:off x="1863725" y="1611313"/>
            <a:ext cx="2620963" cy="1687512"/>
          </a:xfrm>
          <a:custGeom>
            <a:avLst/>
            <a:gdLst>
              <a:gd name="T0" fmla="*/ 658660 w 7282"/>
              <a:gd name="T1" fmla="*/ 638489 h 4686"/>
              <a:gd name="T2" fmla="*/ 235750 w 7282"/>
              <a:gd name="T3" fmla="*/ 1162100 h 4686"/>
              <a:gd name="T4" fmla="*/ 129572 w 7282"/>
              <a:gd name="T5" fmla="*/ 709792 h 4686"/>
              <a:gd name="T6" fmla="*/ 1083010 w 7282"/>
              <a:gd name="T7" fmla="*/ 566105 h 4686"/>
              <a:gd name="T8" fmla="*/ 1123321 w 7282"/>
              <a:gd name="T9" fmla="*/ 520010 h 4686"/>
              <a:gd name="T10" fmla="*/ 1145637 w 7282"/>
              <a:gd name="T11" fmla="*/ 747965 h 4686"/>
              <a:gd name="T12" fmla="*/ 473299 w 7282"/>
              <a:gd name="T13" fmla="*/ 796581 h 4686"/>
              <a:gd name="T14" fmla="*/ 2117070 w 7282"/>
              <a:gd name="T15" fmla="*/ 1128249 h 4686"/>
              <a:gd name="T16" fmla="*/ 2115990 w 7282"/>
              <a:gd name="T17" fmla="*/ 1372409 h 4686"/>
              <a:gd name="T18" fmla="*/ 2233325 w 7282"/>
              <a:gd name="T19" fmla="*/ 1391495 h 4686"/>
              <a:gd name="T20" fmla="*/ 1585103 w 7282"/>
              <a:gd name="T21" fmla="*/ 565025 h 4686"/>
              <a:gd name="T22" fmla="*/ 1757866 w 7282"/>
              <a:gd name="T23" fmla="*/ 687105 h 4686"/>
              <a:gd name="T24" fmla="*/ 2266798 w 7282"/>
              <a:gd name="T25" fmla="*/ 541617 h 4686"/>
              <a:gd name="T26" fmla="*/ 2185815 w 7282"/>
              <a:gd name="T27" fmla="*/ 713753 h 4686"/>
              <a:gd name="T28" fmla="*/ 1041979 w 7282"/>
              <a:gd name="T29" fmla="*/ 1369888 h 4686"/>
              <a:gd name="T30" fmla="*/ 1191707 w 7282"/>
              <a:gd name="T31" fmla="*/ 1460998 h 4686"/>
              <a:gd name="T32" fmla="*/ 1079051 w 7282"/>
              <a:gd name="T33" fmla="*/ 1668426 h 4686"/>
              <a:gd name="T34" fmla="*/ 477978 w 7282"/>
              <a:gd name="T35" fmla="*/ 111276 h 4686"/>
              <a:gd name="T36" fmla="*/ 1457330 w 7282"/>
              <a:gd name="T37" fmla="*/ 1272296 h 4686"/>
              <a:gd name="T38" fmla="*/ 960276 w 7282"/>
              <a:gd name="T39" fmla="*/ 1064148 h 4686"/>
              <a:gd name="T40" fmla="*/ 928603 w 7282"/>
              <a:gd name="T41" fmla="*/ 834033 h 4686"/>
              <a:gd name="T42" fmla="*/ 1112524 w 7282"/>
              <a:gd name="T43" fmla="*/ 1130050 h 4686"/>
              <a:gd name="T44" fmla="*/ 991949 w 7282"/>
              <a:gd name="T45" fmla="*/ 1168942 h 4686"/>
              <a:gd name="T46" fmla="*/ 1079051 w 7282"/>
              <a:gd name="T47" fmla="*/ 1204234 h 4686"/>
              <a:gd name="T48" fmla="*/ 1023982 w 7282"/>
              <a:gd name="T49" fmla="*/ 955032 h 4686"/>
              <a:gd name="T50" fmla="*/ 2261399 w 7282"/>
              <a:gd name="T51" fmla="*/ 1209996 h 4686"/>
              <a:gd name="T52" fmla="*/ 2408968 w 7282"/>
              <a:gd name="T53" fmla="*/ 1235204 h 4686"/>
              <a:gd name="T54" fmla="*/ 2416167 w 7282"/>
              <a:gd name="T55" fmla="*/ 1445873 h 4686"/>
              <a:gd name="T56" fmla="*/ 2533142 w 7282"/>
              <a:gd name="T57" fmla="*/ 1208195 h 4686"/>
              <a:gd name="T58" fmla="*/ 2523424 w 7282"/>
              <a:gd name="T59" fmla="*/ 518930 h 4686"/>
              <a:gd name="T60" fmla="*/ 2475554 w 7282"/>
              <a:gd name="T61" fmla="*/ 640289 h 4686"/>
              <a:gd name="T62" fmla="*/ 2537461 w 7282"/>
              <a:gd name="T63" fmla="*/ 627685 h 4686"/>
              <a:gd name="T64" fmla="*/ 2569134 w 7282"/>
              <a:gd name="T65" fmla="*/ 738602 h 4686"/>
              <a:gd name="T66" fmla="*/ 2003694 w 7282"/>
              <a:gd name="T67" fmla="*/ 628406 h 4686"/>
              <a:gd name="T68" fmla="*/ 1909394 w 7282"/>
              <a:gd name="T69" fmla="*/ 661176 h 4686"/>
              <a:gd name="T70" fmla="*/ 1951505 w 7282"/>
              <a:gd name="T71" fmla="*/ 803783 h 4686"/>
              <a:gd name="T72" fmla="*/ 1432855 w 7282"/>
              <a:gd name="T73" fmla="*/ 591674 h 4686"/>
              <a:gd name="T74" fmla="*/ 1481445 w 7282"/>
              <a:gd name="T75" fmla="*/ 673060 h 4686"/>
              <a:gd name="T76" fmla="*/ 1327758 w 7282"/>
              <a:gd name="T77" fmla="*/ 673060 h 4686"/>
              <a:gd name="T78" fmla="*/ 1931709 w 7282"/>
              <a:gd name="T79" fmla="*/ 937747 h 4686"/>
              <a:gd name="T80" fmla="*/ 1945027 w 7282"/>
              <a:gd name="T81" fmla="*/ 1193790 h 4686"/>
              <a:gd name="T82" fmla="*/ 1848207 w 7282"/>
              <a:gd name="T83" fmla="*/ 1175424 h 4686"/>
              <a:gd name="T84" fmla="*/ 696812 w 7282"/>
              <a:gd name="T85" fmla="*/ 1148416 h 4686"/>
              <a:gd name="T86" fmla="*/ 968194 w 7282"/>
              <a:gd name="T87" fmla="*/ 1060547 h 4686"/>
              <a:gd name="T88" fmla="*/ 313853 w 7282"/>
              <a:gd name="T89" fmla="*/ 1062348 h 4686"/>
              <a:gd name="T90" fmla="*/ 277141 w 7282"/>
              <a:gd name="T91" fmla="*/ 1127529 h 4686"/>
              <a:gd name="T92" fmla="*/ 669458 w 7282"/>
              <a:gd name="T93" fmla="*/ 1131130 h 4686"/>
              <a:gd name="T94" fmla="*/ 638144 w 7282"/>
              <a:gd name="T95" fmla="*/ 1156698 h 4686"/>
              <a:gd name="T96" fmla="*/ 862017 w 7282"/>
              <a:gd name="T97" fmla="*/ 998247 h 4686"/>
              <a:gd name="T98" fmla="*/ 806589 w 7282"/>
              <a:gd name="T99" fmla="*/ 1020934 h 4686"/>
              <a:gd name="T100" fmla="*/ 800830 w 7282"/>
              <a:gd name="T101" fmla="*/ 591313 h 4686"/>
              <a:gd name="T102" fmla="*/ 725606 w 7282"/>
              <a:gd name="T103" fmla="*/ 977360 h 4686"/>
              <a:gd name="T104" fmla="*/ 747921 w 7282"/>
              <a:gd name="T105" fmla="*/ 696108 h 4686"/>
              <a:gd name="T106" fmla="*/ 383319 w 7282"/>
              <a:gd name="T107" fmla="*/ 1000047 h 4686"/>
              <a:gd name="T108" fmla="*/ 795431 w 7282"/>
              <a:gd name="T109" fmla="*/ 158452 h 4686"/>
              <a:gd name="T110" fmla="*/ 808388 w 7282"/>
              <a:gd name="T111" fmla="*/ 283413 h 4686"/>
              <a:gd name="T112" fmla="*/ 1338556 w 7282"/>
              <a:gd name="T113" fmla="*/ 359037 h 4686"/>
              <a:gd name="T114" fmla="*/ 1398663 w 7282"/>
              <a:gd name="T115" fmla="*/ 437543 h 4686"/>
              <a:gd name="T116" fmla="*/ 1402982 w 7282"/>
              <a:gd name="T117" fmla="*/ 1491968 h 468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282"/>
              <a:gd name="T178" fmla="*/ 0 h 4686"/>
              <a:gd name="T179" fmla="*/ 7282 w 7282"/>
              <a:gd name="T180" fmla="*/ 4686 h 468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282" h="4686" extrusionOk="0">
                <a:moveTo>
                  <a:pt x="862" y="1361"/>
                </a:moveTo>
                <a:cubicBezTo>
                  <a:pt x="855" y="1331"/>
                  <a:pt x="821" y="1335"/>
                  <a:pt x="825" y="1304"/>
                </a:cubicBezTo>
                <a:cubicBezTo>
                  <a:pt x="846" y="1148"/>
                  <a:pt x="980" y="933"/>
                  <a:pt x="1093" y="831"/>
                </a:cubicBezTo>
                <a:cubicBezTo>
                  <a:pt x="1173" y="759"/>
                  <a:pt x="1289" y="667"/>
                  <a:pt x="1375" y="786"/>
                </a:cubicBezTo>
                <a:cubicBezTo>
                  <a:pt x="1456" y="898"/>
                  <a:pt x="1450" y="1128"/>
                  <a:pt x="1408" y="1254"/>
                </a:cubicBezTo>
                <a:cubicBezTo>
                  <a:pt x="1399" y="1282"/>
                  <a:pt x="1387" y="1277"/>
                  <a:pt x="1375" y="1304"/>
                </a:cubicBezTo>
                <a:cubicBezTo>
                  <a:pt x="1411" y="1236"/>
                  <a:pt x="1385" y="1211"/>
                  <a:pt x="1477" y="1186"/>
                </a:cubicBezTo>
                <a:cubicBezTo>
                  <a:pt x="1607" y="1151"/>
                  <a:pt x="1836" y="1231"/>
                  <a:pt x="1911" y="1341"/>
                </a:cubicBezTo>
                <a:cubicBezTo>
                  <a:pt x="2016" y="1495"/>
                  <a:pt x="1930" y="1656"/>
                  <a:pt x="1830" y="1773"/>
                </a:cubicBezTo>
                <a:cubicBezTo>
                  <a:pt x="1886" y="1714"/>
                  <a:pt x="1915" y="1662"/>
                  <a:pt x="2000" y="1623"/>
                </a:cubicBezTo>
                <a:cubicBezTo>
                  <a:pt x="2139" y="1559"/>
                  <a:pt x="2316" y="1540"/>
                  <a:pt x="2403" y="1693"/>
                </a:cubicBezTo>
                <a:cubicBezTo>
                  <a:pt x="2563" y="1973"/>
                  <a:pt x="2342" y="2339"/>
                  <a:pt x="2145" y="2531"/>
                </a:cubicBezTo>
                <a:cubicBezTo>
                  <a:pt x="2055" y="2619"/>
                  <a:pt x="1958" y="2700"/>
                  <a:pt x="1863" y="2782"/>
                </a:cubicBezTo>
                <a:cubicBezTo>
                  <a:pt x="1903" y="2769"/>
                  <a:pt x="1957" y="2743"/>
                  <a:pt x="2001" y="2735"/>
                </a:cubicBezTo>
                <a:cubicBezTo>
                  <a:pt x="2056" y="2725"/>
                  <a:pt x="2127" y="2714"/>
                  <a:pt x="2171" y="2760"/>
                </a:cubicBezTo>
                <a:cubicBezTo>
                  <a:pt x="2265" y="2860"/>
                  <a:pt x="2138" y="3007"/>
                  <a:pt x="2066" y="3069"/>
                </a:cubicBezTo>
                <a:cubicBezTo>
                  <a:pt x="1858" y="3247"/>
                  <a:pt x="1450" y="3246"/>
                  <a:pt x="1197" y="3265"/>
                </a:cubicBezTo>
                <a:cubicBezTo>
                  <a:pt x="1050" y="3276"/>
                  <a:pt x="787" y="3322"/>
                  <a:pt x="655" y="3227"/>
                </a:cubicBezTo>
                <a:cubicBezTo>
                  <a:pt x="572" y="3167"/>
                  <a:pt x="640" y="3089"/>
                  <a:pt x="677" y="3028"/>
                </a:cubicBezTo>
                <a:cubicBezTo>
                  <a:pt x="736" y="2931"/>
                  <a:pt x="877" y="2850"/>
                  <a:pt x="987" y="2852"/>
                </a:cubicBezTo>
                <a:cubicBezTo>
                  <a:pt x="992" y="2858"/>
                  <a:pt x="998" y="2864"/>
                  <a:pt x="1003" y="2870"/>
                </a:cubicBezTo>
                <a:cubicBezTo>
                  <a:pt x="954" y="2955"/>
                  <a:pt x="943" y="3034"/>
                  <a:pt x="815" y="3051"/>
                </a:cubicBezTo>
                <a:cubicBezTo>
                  <a:pt x="606" y="3079"/>
                  <a:pt x="447" y="2895"/>
                  <a:pt x="335" y="2745"/>
                </a:cubicBezTo>
                <a:cubicBezTo>
                  <a:pt x="163" y="2514"/>
                  <a:pt x="24" y="2191"/>
                  <a:pt x="164" y="1913"/>
                </a:cubicBezTo>
                <a:cubicBezTo>
                  <a:pt x="226" y="1790"/>
                  <a:pt x="311" y="1708"/>
                  <a:pt x="414" y="1628"/>
                </a:cubicBezTo>
                <a:cubicBezTo>
                  <a:pt x="420" y="1674"/>
                  <a:pt x="437" y="1698"/>
                  <a:pt x="425" y="1763"/>
                </a:cubicBezTo>
                <a:cubicBezTo>
                  <a:pt x="412" y="1836"/>
                  <a:pt x="384" y="1902"/>
                  <a:pt x="360" y="1971"/>
                </a:cubicBezTo>
                <a:cubicBezTo>
                  <a:pt x="371" y="1863"/>
                  <a:pt x="385" y="1755"/>
                  <a:pt x="400" y="1647"/>
                </a:cubicBezTo>
                <a:cubicBezTo>
                  <a:pt x="418" y="1523"/>
                  <a:pt x="438" y="1401"/>
                  <a:pt x="469" y="1283"/>
                </a:cubicBezTo>
                <a:cubicBezTo>
                  <a:pt x="513" y="1294"/>
                  <a:pt x="562" y="1303"/>
                  <a:pt x="609" y="1319"/>
                </a:cubicBezTo>
                <a:cubicBezTo>
                  <a:pt x="675" y="1342"/>
                  <a:pt x="739" y="1368"/>
                  <a:pt x="804" y="1394"/>
                </a:cubicBezTo>
              </a:path>
              <a:path w="7282" h="4686" extrusionOk="0">
                <a:moveTo>
                  <a:pt x="2766" y="885"/>
                </a:moveTo>
                <a:cubicBezTo>
                  <a:pt x="2785" y="914"/>
                  <a:pt x="2791" y="945"/>
                  <a:pt x="2800" y="979"/>
                </a:cubicBezTo>
                <a:cubicBezTo>
                  <a:pt x="2813" y="1026"/>
                  <a:pt x="2837" y="1071"/>
                  <a:pt x="2855" y="1117"/>
                </a:cubicBezTo>
                <a:cubicBezTo>
                  <a:pt x="2884" y="1190"/>
                  <a:pt x="2910" y="1264"/>
                  <a:pt x="2934" y="1339"/>
                </a:cubicBezTo>
                <a:cubicBezTo>
                  <a:pt x="2959" y="1416"/>
                  <a:pt x="2978" y="1498"/>
                  <a:pt x="3009" y="1572"/>
                </a:cubicBezTo>
                <a:cubicBezTo>
                  <a:pt x="3014" y="1585"/>
                  <a:pt x="3049" y="1672"/>
                  <a:pt x="3079" y="1662"/>
                </a:cubicBezTo>
                <a:cubicBezTo>
                  <a:pt x="3086" y="1651"/>
                  <a:pt x="3094" y="1639"/>
                  <a:pt x="3101" y="1628"/>
                </a:cubicBezTo>
              </a:path>
              <a:path w="7282" h="4686" extrusionOk="0">
                <a:moveTo>
                  <a:pt x="2865" y="944"/>
                </a:moveTo>
                <a:cubicBezTo>
                  <a:pt x="2900" y="902"/>
                  <a:pt x="2929" y="880"/>
                  <a:pt x="2973" y="851"/>
                </a:cubicBezTo>
                <a:cubicBezTo>
                  <a:pt x="3006" y="829"/>
                  <a:pt x="3040" y="816"/>
                  <a:pt x="3079" y="834"/>
                </a:cubicBezTo>
                <a:cubicBezTo>
                  <a:pt x="3117" y="851"/>
                  <a:pt x="3126" y="898"/>
                  <a:pt x="3133" y="934"/>
                </a:cubicBezTo>
                <a:cubicBezTo>
                  <a:pt x="3143" y="985"/>
                  <a:pt x="3141" y="1040"/>
                  <a:pt x="3141" y="1092"/>
                </a:cubicBezTo>
                <a:cubicBezTo>
                  <a:pt x="3141" y="1165"/>
                  <a:pt x="3136" y="1236"/>
                  <a:pt x="3133" y="1309"/>
                </a:cubicBezTo>
                <a:cubicBezTo>
                  <a:pt x="3131" y="1355"/>
                  <a:pt x="3121" y="1397"/>
                  <a:pt x="3121" y="1444"/>
                </a:cubicBezTo>
                <a:cubicBezTo>
                  <a:pt x="3123" y="1473"/>
                  <a:pt x="3124" y="1483"/>
                  <a:pt x="3124" y="1502"/>
                </a:cubicBezTo>
              </a:path>
              <a:path w="7282" h="4686" extrusionOk="0">
                <a:moveTo>
                  <a:pt x="3188" y="2107"/>
                </a:moveTo>
                <a:cubicBezTo>
                  <a:pt x="3175" y="2161"/>
                  <a:pt x="3157" y="2211"/>
                  <a:pt x="3153" y="2265"/>
                </a:cubicBezTo>
                <a:cubicBezTo>
                  <a:pt x="3150" y="2300"/>
                  <a:pt x="3159" y="2337"/>
                  <a:pt x="3204" y="2328"/>
                </a:cubicBezTo>
                <a:cubicBezTo>
                  <a:pt x="3268" y="2316"/>
                  <a:pt x="3324" y="2251"/>
                  <a:pt x="3361" y="2203"/>
                </a:cubicBezTo>
                <a:cubicBezTo>
                  <a:pt x="3400" y="2153"/>
                  <a:pt x="3425" y="2113"/>
                  <a:pt x="3418" y="2052"/>
                </a:cubicBezTo>
                <a:cubicBezTo>
                  <a:pt x="3364" y="2040"/>
                  <a:pt x="3316" y="2055"/>
                  <a:pt x="3266" y="2085"/>
                </a:cubicBezTo>
                <a:cubicBezTo>
                  <a:pt x="3231" y="2106"/>
                  <a:pt x="3158" y="2156"/>
                  <a:pt x="3166" y="2115"/>
                </a:cubicBezTo>
                <a:cubicBezTo>
                  <a:pt x="3172" y="2102"/>
                  <a:pt x="3177" y="2090"/>
                  <a:pt x="3183" y="2077"/>
                </a:cubicBezTo>
              </a:path>
              <a:path w="7282" h="4686" extrusionOk="0">
                <a:moveTo>
                  <a:pt x="918" y="1901"/>
                </a:moveTo>
                <a:cubicBezTo>
                  <a:pt x="950" y="1919"/>
                  <a:pt x="985" y="1916"/>
                  <a:pt x="1023" y="1919"/>
                </a:cubicBezTo>
                <a:cubicBezTo>
                  <a:pt x="1093" y="1924"/>
                  <a:pt x="1162" y="1927"/>
                  <a:pt x="1232" y="1934"/>
                </a:cubicBezTo>
                <a:cubicBezTo>
                  <a:pt x="1303" y="1941"/>
                  <a:pt x="1373" y="1951"/>
                  <a:pt x="1443" y="1962"/>
                </a:cubicBezTo>
                <a:cubicBezTo>
                  <a:pt x="1481" y="1968"/>
                  <a:pt x="1517" y="1975"/>
                  <a:pt x="1555" y="1984"/>
                </a:cubicBezTo>
              </a:path>
              <a:path w="7282" h="4686" extrusionOk="0">
                <a:moveTo>
                  <a:pt x="1052" y="2179"/>
                </a:moveTo>
                <a:cubicBezTo>
                  <a:pt x="1039" y="2194"/>
                  <a:pt x="1034" y="2199"/>
                  <a:pt x="1045" y="2212"/>
                </a:cubicBezTo>
                <a:cubicBezTo>
                  <a:pt x="1074" y="2214"/>
                  <a:pt x="1102" y="2214"/>
                  <a:pt x="1132" y="2213"/>
                </a:cubicBezTo>
                <a:cubicBezTo>
                  <a:pt x="1193" y="2211"/>
                  <a:pt x="1254" y="2212"/>
                  <a:pt x="1315" y="2212"/>
                </a:cubicBezTo>
                <a:cubicBezTo>
                  <a:pt x="1368" y="2212"/>
                  <a:pt x="1421" y="2215"/>
                  <a:pt x="1473" y="2222"/>
                </a:cubicBezTo>
                <a:cubicBezTo>
                  <a:pt x="1505" y="2226"/>
                  <a:pt x="1530" y="2234"/>
                  <a:pt x="1560" y="2245"/>
                </a:cubicBezTo>
              </a:path>
              <a:path w="7282" h="4686" extrusionOk="0">
                <a:moveTo>
                  <a:pt x="1047" y="2556"/>
                </a:moveTo>
                <a:cubicBezTo>
                  <a:pt x="1027" y="2550"/>
                  <a:pt x="1020" y="2546"/>
                  <a:pt x="1013" y="2531"/>
                </a:cubicBezTo>
                <a:cubicBezTo>
                  <a:pt x="1034" y="2505"/>
                  <a:pt x="1052" y="2514"/>
                  <a:pt x="1088" y="2519"/>
                </a:cubicBezTo>
                <a:cubicBezTo>
                  <a:pt x="1167" y="2530"/>
                  <a:pt x="1238" y="2534"/>
                  <a:pt x="1318" y="2529"/>
                </a:cubicBezTo>
                <a:cubicBezTo>
                  <a:pt x="1417" y="2523"/>
                  <a:pt x="1516" y="2514"/>
                  <a:pt x="1615" y="2506"/>
                </a:cubicBezTo>
              </a:path>
              <a:path w="7282" h="4686" extrusionOk="0">
                <a:moveTo>
                  <a:pt x="5802" y="3091"/>
                </a:moveTo>
                <a:cubicBezTo>
                  <a:pt x="5804" y="3091"/>
                  <a:pt x="5845" y="3101"/>
                  <a:pt x="5882" y="3133"/>
                </a:cubicBezTo>
                <a:cubicBezTo>
                  <a:pt x="5942" y="3185"/>
                  <a:pt x="5998" y="3240"/>
                  <a:pt x="6053" y="3297"/>
                </a:cubicBezTo>
                <a:cubicBezTo>
                  <a:pt x="6116" y="3362"/>
                  <a:pt x="6177" y="3427"/>
                  <a:pt x="6233" y="3498"/>
                </a:cubicBezTo>
                <a:cubicBezTo>
                  <a:pt x="6272" y="3547"/>
                  <a:pt x="6313" y="3638"/>
                  <a:pt x="6370" y="3669"/>
                </a:cubicBezTo>
                <a:cubicBezTo>
                  <a:pt x="6375" y="3670"/>
                  <a:pt x="6380" y="3670"/>
                  <a:pt x="6385" y="3671"/>
                </a:cubicBezTo>
              </a:path>
              <a:path w="7282" h="4686" extrusionOk="0">
                <a:moveTo>
                  <a:pt x="6448" y="3011"/>
                </a:moveTo>
                <a:cubicBezTo>
                  <a:pt x="6424" y="3027"/>
                  <a:pt x="6405" y="3056"/>
                  <a:pt x="6377" y="3096"/>
                </a:cubicBezTo>
                <a:cubicBezTo>
                  <a:pt x="6316" y="3183"/>
                  <a:pt x="6259" y="3273"/>
                  <a:pt x="6202" y="3364"/>
                </a:cubicBezTo>
                <a:cubicBezTo>
                  <a:pt x="6137" y="3468"/>
                  <a:pt x="6071" y="3569"/>
                  <a:pt x="6002" y="3669"/>
                </a:cubicBezTo>
                <a:cubicBezTo>
                  <a:pt x="5963" y="3725"/>
                  <a:pt x="5935" y="3772"/>
                  <a:pt x="5879" y="3811"/>
                </a:cubicBezTo>
              </a:path>
              <a:path w="7282" h="4686" extrusionOk="0">
                <a:moveTo>
                  <a:pt x="5782" y="3520"/>
                </a:moveTo>
                <a:cubicBezTo>
                  <a:pt x="5762" y="3498"/>
                  <a:pt x="5788" y="3493"/>
                  <a:pt x="5817" y="3478"/>
                </a:cubicBezTo>
                <a:cubicBezTo>
                  <a:pt x="5854" y="3459"/>
                  <a:pt x="5894" y="3444"/>
                  <a:pt x="5930" y="3423"/>
                </a:cubicBezTo>
                <a:cubicBezTo>
                  <a:pt x="5993" y="3387"/>
                  <a:pt x="6053" y="3351"/>
                  <a:pt x="6107" y="3302"/>
                </a:cubicBezTo>
                <a:cubicBezTo>
                  <a:pt x="6153" y="3256"/>
                  <a:pt x="6168" y="3241"/>
                  <a:pt x="6195" y="3207"/>
                </a:cubicBezTo>
              </a:path>
              <a:path w="7282" h="4686" extrusionOk="0">
                <a:moveTo>
                  <a:pt x="6142" y="2981"/>
                </a:moveTo>
                <a:cubicBezTo>
                  <a:pt x="6136" y="3082"/>
                  <a:pt x="6133" y="3186"/>
                  <a:pt x="6143" y="3287"/>
                </a:cubicBezTo>
                <a:cubicBezTo>
                  <a:pt x="6155" y="3407"/>
                  <a:pt x="6180" y="3526"/>
                  <a:pt x="6190" y="3646"/>
                </a:cubicBezTo>
                <a:cubicBezTo>
                  <a:pt x="6196" y="3718"/>
                  <a:pt x="6199" y="3791"/>
                  <a:pt x="6205" y="3864"/>
                </a:cubicBezTo>
              </a:path>
              <a:path w="7282" h="4686" extrusionOk="0">
                <a:moveTo>
                  <a:pt x="4371" y="1254"/>
                </a:moveTo>
                <a:cubicBezTo>
                  <a:pt x="4406" y="1251"/>
                  <a:pt x="4441" y="1245"/>
                  <a:pt x="4476" y="1243"/>
                </a:cubicBezTo>
                <a:cubicBezTo>
                  <a:pt x="4537" y="1239"/>
                  <a:pt x="4598" y="1233"/>
                  <a:pt x="4659" y="1230"/>
                </a:cubicBezTo>
                <a:cubicBezTo>
                  <a:pt x="4755" y="1226"/>
                  <a:pt x="4851" y="1223"/>
                  <a:pt x="4947" y="1218"/>
                </a:cubicBezTo>
                <a:cubicBezTo>
                  <a:pt x="5037" y="1214"/>
                  <a:pt x="5127" y="1215"/>
                  <a:pt x="5217" y="1216"/>
                </a:cubicBezTo>
                <a:cubicBezTo>
                  <a:pt x="5246" y="1216"/>
                  <a:pt x="5321" y="1215"/>
                  <a:pt x="5339" y="1249"/>
                </a:cubicBezTo>
                <a:cubicBezTo>
                  <a:pt x="5341" y="1259"/>
                  <a:pt x="5343" y="1268"/>
                  <a:pt x="5345" y="1278"/>
                </a:cubicBezTo>
              </a:path>
              <a:path w="7282" h="4686" extrusionOk="0">
                <a:moveTo>
                  <a:pt x="4461" y="1552"/>
                </a:moveTo>
                <a:cubicBezTo>
                  <a:pt x="4429" y="1571"/>
                  <a:pt x="4423" y="1585"/>
                  <a:pt x="4404" y="1569"/>
                </a:cubicBezTo>
                <a:cubicBezTo>
                  <a:pt x="4436" y="1545"/>
                  <a:pt x="4456" y="1539"/>
                  <a:pt x="4496" y="1534"/>
                </a:cubicBezTo>
                <a:cubicBezTo>
                  <a:pt x="4558" y="1527"/>
                  <a:pt x="4620" y="1534"/>
                  <a:pt x="4682" y="1539"/>
                </a:cubicBezTo>
                <a:cubicBezTo>
                  <a:pt x="4770" y="1547"/>
                  <a:pt x="4858" y="1557"/>
                  <a:pt x="4947" y="1562"/>
                </a:cubicBezTo>
                <a:cubicBezTo>
                  <a:pt x="5027" y="1567"/>
                  <a:pt x="5107" y="1564"/>
                  <a:pt x="5187" y="1565"/>
                </a:cubicBezTo>
                <a:cubicBezTo>
                  <a:pt x="5221" y="1565"/>
                  <a:pt x="5254" y="1569"/>
                  <a:pt x="5287" y="1575"/>
                </a:cubicBezTo>
              </a:path>
              <a:path w="7282" h="4686" extrusionOk="0">
                <a:moveTo>
                  <a:pt x="4456" y="1856"/>
                </a:moveTo>
                <a:cubicBezTo>
                  <a:pt x="4399" y="1865"/>
                  <a:pt x="4491" y="1859"/>
                  <a:pt x="4504" y="1861"/>
                </a:cubicBezTo>
                <a:cubicBezTo>
                  <a:pt x="4555" y="1867"/>
                  <a:pt x="4605" y="1876"/>
                  <a:pt x="4656" y="1883"/>
                </a:cubicBezTo>
                <a:cubicBezTo>
                  <a:pt x="4732" y="1893"/>
                  <a:pt x="4808" y="1897"/>
                  <a:pt x="4884" y="1908"/>
                </a:cubicBezTo>
                <a:cubicBezTo>
                  <a:pt x="4951" y="1918"/>
                  <a:pt x="5018" y="1932"/>
                  <a:pt x="5085" y="1944"/>
                </a:cubicBezTo>
                <a:cubicBezTo>
                  <a:pt x="5095" y="1946"/>
                  <a:pt x="5104" y="1947"/>
                  <a:pt x="5114" y="1949"/>
                </a:cubicBezTo>
              </a:path>
              <a:path w="7282" h="4686" extrusionOk="0">
                <a:moveTo>
                  <a:pt x="4351" y="2187"/>
                </a:moveTo>
                <a:cubicBezTo>
                  <a:pt x="4407" y="2179"/>
                  <a:pt x="4464" y="2160"/>
                  <a:pt x="4522" y="2150"/>
                </a:cubicBezTo>
                <a:cubicBezTo>
                  <a:pt x="4612" y="2135"/>
                  <a:pt x="4699" y="2132"/>
                  <a:pt x="4789" y="2144"/>
                </a:cubicBezTo>
                <a:cubicBezTo>
                  <a:pt x="4861" y="2154"/>
                  <a:pt x="4933" y="2170"/>
                  <a:pt x="5004" y="2184"/>
                </a:cubicBezTo>
              </a:path>
              <a:path w="7282" h="4686" extrusionOk="0">
                <a:moveTo>
                  <a:pt x="6005" y="1474"/>
                </a:moveTo>
                <a:cubicBezTo>
                  <a:pt x="6042" y="1467"/>
                  <a:pt x="6072" y="1477"/>
                  <a:pt x="6110" y="1482"/>
                </a:cubicBezTo>
                <a:cubicBezTo>
                  <a:pt x="6172" y="1489"/>
                  <a:pt x="6235" y="1501"/>
                  <a:pt x="6298" y="1504"/>
                </a:cubicBezTo>
                <a:cubicBezTo>
                  <a:pt x="6360" y="1507"/>
                  <a:pt x="6421" y="1509"/>
                  <a:pt x="6483" y="1510"/>
                </a:cubicBezTo>
                <a:cubicBezTo>
                  <a:pt x="6515" y="1512"/>
                  <a:pt x="6524" y="1513"/>
                  <a:pt x="6545" y="1512"/>
                </a:cubicBezTo>
              </a:path>
              <a:path w="7282" h="4686" extrusionOk="0">
                <a:moveTo>
                  <a:pt x="6068" y="1728"/>
                </a:moveTo>
                <a:cubicBezTo>
                  <a:pt x="6061" y="1725"/>
                  <a:pt x="6054" y="1723"/>
                  <a:pt x="6047" y="1720"/>
                </a:cubicBezTo>
                <a:cubicBezTo>
                  <a:pt x="6080" y="1745"/>
                  <a:pt x="6108" y="1771"/>
                  <a:pt x="6145" y="1790"/>
                </a:cubicBezTo>
                <a:cubicBezTo>
                  <a:pt x="6191" y="1814"/>
                  <a:pt x="6236" y="1822"/>
                  <a:pt x="6287" y="1826"/>
                </a:cubicBezTo>
                <a:cubicBezTo>
                  <a:pt x="6338" y="1830"/>
                  <a:pt x="6387" y="1831"/>
                  <a:pt x="6438" y="1831"/>
                </a:cubicBezTo>
              </a:path>
              <a:path w="7282" h="4686" extrusionOk="0">
                <a:moveTo>
                  <a:pt x="5965" y="1982"/>
                </a:moveTo>
                <a:cubicBezTo>
                  <a:pt x="6001" y="1992"/>
                  <a:pt x="6034" y="1983"/>
                  <a:pt x="6073" y="1982"/>
                </a:cubicBezTo>
                <a:cubicBezTo>
                  <a:pt x="6124" y="1980"/>
                  <a:pt x="6177" y="1983"/>
                  <a:pt x="6228" y="1979"/>
                </a:cubicBezTo>
                <a:cubicBezTo>
                  <a:pt x="6263" y="1976"/>
                  <a:pt x="6297" y="1972"/>
                  <a:pt x="6332" y="1971"/>
                </a:cubicBezTo>
              </a:path>
              <a:path w="7282" h="4686" extrusionOk="0">
                <a:moveTo>
                  <a:pt x="5954" y="2288"/>
                </a:moveTo>
                <a:cubicBezTo>
                  <a:pt x="5934" y="2305"/>
                  <a:pt x="5928" y="2309"/>
                  <a:pt x="5922" y="2326"/>
                </a:cubicBezTo>
                <a:cubicBezTo>
                  <a:pt x="5960" y="2334"/>
                  <a:pt x="5999" y="2336"/>
                  <a:pt x="6038" y="2341"/>
                </a:cubicBezTo>
                <a:cubicBezTo>
                  <a:pt x="6090" y="2347"/>
                  <a:pt x="6144" y="2351"/>
                  <a:pt x="6195" y="2363"/>
                </a:cubicBezTo>
                <a:cubicBezTo>
                  <a:pt x="6225" y="2370"/>
                  <a:pt x="6250" y="2375"/>
                  <a:pt x="6280" y="2378"/>
                </a:cubicBezTo>
              </a:path>
              <a:path w="7282" h="4686" extrusionOk="0">
                <a:moveTo>
                  <a:pt x="2823" y="3852"/>
                </a:moveTo>
                <a:cubicBezTo>
                  <a:pt x="2841" y="3815"/>
                  <a:pt x="2855" y="3811"/>
                  <a:pt x="2895" y="3804"/>
                </a:cubicBezTo>
                <a:cubicBezTo>
                  <a:pt x="2948" y="3795"/>
                  <a:pt x="3002" y="3792"/>
                  <a:pt x="3056" y="3786"/>
                </a:cubicBezTo>
                <a:cubicBezTo>
                  <a:pt x="3133" y="3777"/>
                  <a:pt x="3211" y="3765"/>
                  <a:pt x="3289" y="3759"/>
                </a:cubicBezTo>
                <a:cubicBezTo>
                  <a:pt x="3350" y="3754"/>
                  <a:pt x="3414" y="3741"/>
                  <a:pt x="3474" y="3759"/>
                </a:cubicBezTo>
                <a:cubicBezTo>
                  <a:pt x="3496" y="3770"/>
                  <a:pt x="3502" y="3772"/>
                  <a:pt x="3514" y="3781"/>
                </a:cubicBezTo>
              </a:path>
              <a:path w="7282" h="4686" extrusionOk="0">
                <a:moveTo>
                  <a:pt x="2863" y="4176"/>
                </a:moveTo>
                <a:cubicBezTo>
                  <a:pt x="2856" y="4176"/>
                  <a:pt x="2850" y="4176"/>
                  <a:pt x="2843" y="4176"/>
                </a:cubicBezTo>
                <a:cubicBezTo>
                  <a:pt x="2853" y="4133"/>
                  <a:pt x="2892" y="4112"/>
                  <a:pt x="2933" y="4093"/>
                </a:cubicBezTo>
                <a:cubicBezTo>
                  <a:pt x="2993" y="4065"/>
                  <a:pt x="3063" y="4051"/>
                  <a:pt x="3129" y="4045"/>
                </a:cubicBezTo>
                <a:cubicBezTo>
                  <a:pt x="3189" y="4040"/>
                  <a:pt x="3252" y="4048"/>
                  <a:pt x="3311" y="4057"/>
                </a:cubicBezTo>
                <a:cubicBezTo>
                  <a:pt x="3340" y="4062"/>
                  <a:pt x="3367" y="4067"/>
                  <a:pt x="3396" y="4070"/>
                </a:cubicBezTo>
              </a:path>
              <a:path w="7282" h="4686" extrusionOk="0">
                <a:moveTo>
                  <a:pt x="2949" y="4366"/>
                </a:moveTo>
                <a:cubicBezTo>
                  <a:pt x="2980" y="4362"/>
                  <a:pt x="3010" y="4347"/>
                  <a:pt x="3041" y="4344"/>
                </a:cubicBezTo>
                <a:cubicBezTo>
                  <a:pt x="3084" y="4339"/>
                  <a:pt x="3122" y="4349"/>
                  <a:pt x="3164" y="4357"/>
                </a:cubicBezTo>
                <a:cubicBezTo>
                  <a:pt x="3207" y="4365"/>
                  <a:pt x="3250" y="4375"/>
                  <a:pt x="3294" y="4376"/>
                </a:cubicBezTo>
                <a:cubicBezTo>
                  <a:pt x="3319" y="4376"/>
                  <a:pt x="3340" y="4370"/>
                  <a:pt x="3363" y="4362"/>
                </a:cubicBezTo>
              </a:path>
              <a:path w="7282" h="4686" extrusionOk="0">
                <a:moveTo>
                  <a:pt x="2738" y="4672"/>
                </a:moveTo>
                <a:cubicBezTo>
                  <a:pt x="2707" y="4696"/>
                  <a:pt x="2776" y="4682"/>
                  <a:pt x="2798" y="4680"/>
                </a:cubicBezTo>
                <a:cubicBezTo>
                  <a:pt x="2867" y="4673"/>
                  <a:pt x="2933" y="4655"/>
                  <a:pt x="2998" y="4633"/>
                </a:cubicBezTo>
                <a:cubicBezTo>
                  <a:pt x="3097" y="4600"/>
                  <a:pt x="3195" y="4556"/>
                  <a:pt x="3291" y="4515"/>
                </a:cubicBezTo>
                <a:cubicBezTo>
                  <a:pt x="3361" y="4483"/>
                  <a:pt x="3384" y="4473"/>
                  <a:pt x="3431" y="4454"/>
                </a:cubicBezTo>
              </a:path>
              <a:path w="7282" h="4686" extrusionOk="0">
                <a:moveTo>
                  <a:pt x="270" y="232"/>
                </a:moveTo>
                <a:cubicBezTo>
                  <a:pt x="252" y="213"/>
                  <a:pt x="248" y="208"/>
                  <a:pt x="235" y="186"/>
                </a:cubicBezTo>
                <a:cubicBezTo>
                  <a:pt x="260" y="207"/>
                  <a:pt x="259" y="208"/>
                  <a:pt x="289" y="221"/>
                </a:cubicBezTo>
                <a:cubicBezTo>
                  <a:pt x="409" y="271"/>
                  <a:pt x="552" y="261"/>
                  <a:pt x="679" y="259"/>
                </a:cubicBezTo>
                <a:cubicBezTo>
                  <a:pt x="789" y="257"/>
                  <a:pt x="898" y="248"/>
                  <a:pt x="1008" y="249"/>
                </a:cubicBezTo>
                <a:cubicBezTo>
                  <a:pt x="1079" y="250"/>
                  <a:pt x="1146" y="260"/>
                  <a:pt x="1215" y="274"/>
                </a:cubicBezTo>
                <a:cubicBezTo>
                  <a:pt x="1237" y="279"/>
                  <a:pt x="1312" y="287"/>
                  <a:pt x="1328" y="309"/>
                </a:cubicBezTo>
                <a:cubicBezTo>
                  <a:pt x="1330" y="329"/>
                  <a:pt x="1331" y="335"/>
                  <a:pt x="1323" y="347"/>
                </a:cubicBezTo>
              </a:path>
              <a:path w="7282" h="4686" extrusionOk="0">
                <a:moveTo>
                  <a:pt x="217" y="679"/>
                </a:moveTo>
                <a:cubicBezTo>
                  <a:pt x="221" y="636"/>
                  <a:pt x="230" y="620"/>
                  <a:pt x="280" y="611"/>
                </a:cubicBezTo>
                <a:cubicBezTo>
                  <a:pt x="350" y="599"/>
                  <a:pt x="426" y="598"/>
                  <a:pt x="497" y="595"/>
                </a:cubicBezTo>
                <a:cubicBezTo>
                  <a:pt x="636" y="590"/>
                  <a:pt x="774" y="586"/>
                  <a:pt x="913" y="593"/>
                </a:cubicBezTo>
                <a:cubicBezTo>
                  <a:pt x="1000" y="597"/>
                  <a:pt x="1087" y="604"/>
                  <a:pt x="1173" y="618"/>
                </a:cubicBezTo>
                <a:cubicBezTo>
                  <a:pt x="1188" y="620"/>
                  <a:pt x="1279" y="653"/>
                  <a:pt x="1293" y="644"/>
                </a:cubicBezTo>
                <a:cubicBezTo>
                  <a:pt x="1311" y="649"/>
                  <a:pt x="1314" y="648"/>
                  <a:pt x="1292" y="630"/>
                </a:cubicBezTo>
              </a:path>
              <a:path w="7282" h="4686" extrusionOk="0">
                <a:moveTo>
                  <a:pt x="4049" y="3533"/>
                </a:moveTo>
                <a:cubicBezTo>
                  <a:pt x="4056" y="3514"/>
                  <a:pt x="4057" y="3508"/>
                  <a:pt x="4071" y="3503"/>
                </a:cubicBezTo>
                <a:cubicBezTo>
                  <a:pt x="4075" y="3540"/>
                  <a:pt x="4070" y="3561"/>
                  <a:pt x="4049" y="3593"/>
                </a:cubicBezTo>
                <a:cubicBezTo>
                  <a:pt x="4034" y="3616"/>
                  <a:pt x="4017" y="3637"/>
                  <a:pt x="4007" y="3663"/>
                </a:cubicBezTo>
                <a:cubicBezTo>
                  <a:pt x="3995" y="3694"/>
                  <a:pt x="3974" y="3745"/>
                  <a:pt x="4012" y="3764"/>
                </a:cubicBezTo>
                <a:cubicBezTo>
                  <a:pt x="4049" y="3783"/>
                  <a:pt x="4120" y="3754"/>
                  <a:pt x="4157" y="3749"/>
                </a:cubicBezTo>
                <a:cubicBezTo>
                  <a:pt x="4199" y="3744"/>
                  <a:pt x="4238" y="3751"/>
                  <a:pt x="4279" y="3756"/>
                </a:cubicBezTo>
                <a:cubicBezTo>
                  <a:pt x="4311" y="3759"/>
                  <a:pt x="4344" y="3776"/>
                  <a:pt x="4376" y="3776"/>
                </a:cubicBezTo>
                <a:cubicBezTo>
                  <a:pt x="4383" y="3775"/>
                  <a:pt x="4389" y="3773"/>
                  <a:pt x="4396" y="3772"/>
                </a:cubicBezTo>
              </a:path>
              <a:path w="7282" h="4686" extrusionOk="0">
                <a:moveTo>
                  <a:pt x="2668" y="2955"/>
                </a:moveTo>
                <a:cubicBezTo>
                  <a:pt x="2662" y="3015"/>
                  <a:pt x="2668" y="3074"/>
                  <a:pt x="2671" y="3134"/>
                </a:cubicBezTo>
                <a:cubicBezTo>
                  <a:pt x="2673" y="3175"/>
                  <a:pt x="2674" y="3220"/>
                  <a:pt x="2685" y="3260"/>
                </a:cubicBezTo>
                <a:cubicBezTo>
                  <a:pt x="2692" y="3284"/>
                  <a:pt x="2700" y="3308"/>
                  <a:pt x="2708" y="3332"/>
                </a:cubicBezTo>
              </a:path>
              <a:path w="7282" h="4686" extrusionOk="0">
                <a:moveTo>
                  <a:pt x="2748" y="2832"/>
                </a:moveTo>
                <a:cubicBezTo>
                  <a:pt x="2735" y="2848"/>
                  <a:pt x="2705" y="2893"/>
                  <a:pt x="2683" y="2898"/>
                </a:cubicBezTo>
                <a:cubicBezTo>
                  <a:pt x="2655" y="2904"/>
                  <a:pt x="2634" y="2891"/>
                  <a:pt x="2610" y="2875"/>
                </a:cubicBezTo>
                <a:cubicBezTo>
                  <a:pt x="2553" y="2837"/>
                  <a:pt x="2514" y="2766"/>
                  <a:pt x="2488" y="2705"/>
                </a:cubicBezTo>
                <a:cubicBezTo>
                  <a:pt x="2455" y="2626"/>
                  <a:pt x="2436" y="2533"/>
                  <a:pt x="2465" y="2449"/>
                </a:cubicBezTo>
                <a:cubicBezTo>
                  <a:pt x="2484" y="2393"/>
                  <a:pt x="2531" y="2347"/>
                  <a:pt x="2580" y="2316"/>
                </a:cubicBezTo>
                <a:cubicBezTo>
                  <a:pt x="2650" y="2272"/>
                  <a:pt x="2741" y="2255"/>
                  <a:pt x="2823" y="2253"/>
                </a:cubicBezTo>
                <a:cubicBezTo>
                  <a:pt x="2904" y="2251"/>
                  <a:pt x="2979" y="2274"/>
                  <a:pt x="3051" y="2310"/>
                </a:cubicBezTo>
                <a:cubicBezTo>
                  <a:pt x="3100" y="2334"/>
                  <a:pt x="3145" y="2371"/>
                  <a:pt x="3166" y="2423"/>
                </a:cubicBezTo>
                <a:cubicBezTo>
                  <a:pt x="3183" y="2467"/>
                  <a:pt x="3171" y="2523"/>
                  <a:pt x="3148" y="2562"/>
                </a:cubicBezTo>
                <a:cubicBezTo>
                  <a:pt x="3133" y="2588"/>
                  <a:pt x="3106" y="2600"/>
                  <a:pt x="3089" y="2622"/>
                </a:cubicBezTo>
                <a:cubicBezTo>
                  <a:pt x="3087" y="2627"/>
                  <a:pt x="3086" y="2632"/>
                  <a:pt x="3084" y="2637"/>
                </a:cubicBezTo>
                <a:cubicBezTo>
                  <a:pt x="3119" y="2648"/>
                  <a:pt x="3142" y="2628"/>
                  <a:pt x="3146" y="2677"/>
                </a:cubicBezTo>
                <a:cubicBezTo>
                  <a:pt x="3152" y="2757"/>
                  <a:pt x="3117" y="2850"/>
                  <a:pt x="3109" y="2930"/>
                </a:cubicBezTo>
                <a:cubicBezTo>
                  <a:pt x="3103" y="2989"/>
                  <a:pt x="3121" y="3085"/>
                  <a:pt x="3091" y="3138"/>
                </a:cubicBezTo>
                <a:cubicBezTo>
                  <a:pt x="3072" y="3172"/>
                  <a:pt x="3089" y="3146"/>
                  <a:pt x="3068" y="3123"/>
                </a:cubicBezTo>
              </a:path>
              <a:path w="7282" h="4686" extrusionOk="0">
                <a:moveTo>
                  <a:pt x="2670" y="3172"/>
                </a:moveTo>
                <a:cubicBezTo>
                  <a:pt x="2604" y="3207"/>
                  <a:pt x="2722" y="3150"/>
                  <a:pt x="2731" y="3146"/>
                </a:cubicBezTo>
                <a:cubicBezTo>
                  <a:pt x="2790" y="3122"/>
                  <a:pt x="2849" y="3102"/>
                  <a:pt x="2911" y="3086"/>
                </a:cubicBezTo>
                <a:cubicBezTo>
                  <a:pt x="2961" y="3073"/>
                  <a:pt x="3012" y="3065"/>
                  <a:pt x="3064" y="3063"/>
                </a:cubicBezTo>
                <a:cubicBezTo>
                  <a:pt x="3082" y="3062"/>
                  <a:pt x="3100" y="3062"/>
                  <a:pt x="3118" y="3061"/>
                </a:cubicBezTo>
                <a:cubicBezTo>
                  <a:pt x="3084" y="3075"/>
                  <a:pt x="3051" y="3090"/>
                  <a:pt x="3018" y="3108"/>
                </a:cubicBezTo>
                <a:cubicBezTo>
                  <a:pt x="2967" y="3136"/>
                  <a:pt x="2915" y="3163"/>
                  <a:pt x="2865" y="3191"/>
                </a:cubicBezTo>
                <a:cubicBezTo>
                  <a:pt x="2830" y="3211"/>
                  <a:pt x="2795" y="3233"/>
                  <a:pt x="2756" y="3246"/>
                </a:cubicBezTo>
                <a:cubicBezTo>
                  <a:pt x="2751" y="3247"/>
                  <a:pt x="2746" y="3248"/>
                  <a:pt x="2741" y="3249"/>
                </a:cubicBezTo>
                <a:cubicBezTo>
                  <a:pt x="2771" y="3244"/>
                  <a:pt x="2798" y="3245"/>
                  <a:pt x="2828" y="3244"/>
                </a:cubicBezTo>
                <a:cubicBezTo>
                  <a:pt x="2866" y="3242"/>
                  <a:pt x="2904" y="3241"/>
                  <a:pt x="2941" y="3236"/>
                </a:cubicBezTo>
                <a:cubicBezTo>
                  <a:pt x="2985" y="3230"/>
                  <a:pt x="3029" y="3218"/>
                  <a:pt x="3074" y="3216"/>
                </a:cubicBezTo>
                <a:cubicBezTo>
                  <a:pt x="3079" y="3216"/>
                  <a:pt x="3084" y="3216"/>
                  <a:pt x="3089" y="3216"/>
                </a:cubicBezTo>
                <a:cubicBezTo>
                  <a:pt x="3085" y="3249"/>
                  <a:pt x="3059" y="3260"/>
                  <a:pt x="3029" y="3280"/>
                </a:cubicBezTo>
                <a:cubicBezTo>
                  <a:pt x="2992" y="3304"/>
                  <a:pt x="2953" y="3326"/>
                  <a:pt x="2916" y="3349"/>
                </a:cubicBezTo>
                <a:cubicBezTo>
                  <a:pt x="2899" y="3359"/>
                  <a:pt x="2894" y="3362"/>
                  <a:pt x="2891" y="3375"/>
                </a:cubicBezTo>
                <a:cubicBezTo>
                  <a:pt x="2928" y="3367"/>
                  <a:pt x="2962" y="3355"/>
                  <a:pt x="2998" y="3344"/>
                </a:cubicBezTo>
                <a:cubicBezTo>
                  <a:pt x="3027" y="3335"/>
                  <a:pt x="3049" y="3322"/>
                  <a:pt x="3079" y="3315"/>
                </a:cubicBezTo>
              </a:path>
              <a:path w="7282" h="4686" extrusionOk="0">
                <a:moveTo>
                  <a:pt x="2878" y="3119"/>
                </a:moveTo>
                <a:cubicBezTo>
                  <a:pt x="2897" y="3102"/>
                  <a:pt x="2904" y="3100"/>
                  <a:pt x="2909" y="3064"/>
                </a:cubicBezTo>
                <a:cubicBezTo>
                  <a:pt x="2915" y="3021"/>
                  <a:pt x="2909" y="2978"/>
                  <a:pt x="2900" y="2936"/>
                </a:cubicBezTo>
                <a:cubicBezTo>
                  <a:pt x="2883" y="2859"/>
                  <a:pt x="2854" y="2786"/>
                  <a:pt x="2823" y="2714"/>
                </a:cubicBezTo>
                <a:cubicBezTo>
                  <a:pt x="2796" y="2652"/>
                  <a:pt x="2764" y="2595"/>
                  <a:pt x="2731" y="2536"/>
                </a:cubicBezTo>
                <a:cubicBezTo>
                  <a:pt x="2719" y="2513"/>
                  <a:pt x="2716" y="2507"/>
                  <a:pt x="2711" y="2491"/>
                </a:cubicBezTo>
                <a:cubicBezTo>
                  <a:pt x="2744" y="2505"/>
                  <a:pt x="2760" y="2518"/>
                  <a:pt x="2781" y="2546"/>
                </a:cubicBezTo>
                <a:cubicBezTo>
                  <a:pt x="2806" y="2579"/>
                  <a:pt x="2826" y="2615"/>
                  <a:pt x="2845" y="2652"/>
                </a:cubicBezTo>
                <a:cubicBezTo>
                  <a:pt x="2860" y="2682"/>
                  <a:pt x="2872" y="2716"/>
                  <a:pt x="2890" y="2744"/>
                </a:cubicBezTo>
                <a:cubicBezTo>
                  <a:pt x="2894" y="2749"/>
                  <a:pt x="2899" y="2755"/>
                  <a:pt x="2903" y="2760"/>
                </a:cubicBezTo>
                <a:cubicBezTo>
                  <a:pt x="2915" y="2725"/>
                  <a:pt x="2918" y="2697"/>
                  <a:pt x="2916" y="2659"/>
                </a:cubicBezTo>
                <a:cubicBezTo>
                  <a:pt x="2914" y="2629"/>
                  <a:pt x="2909" y="2598"/>
                  <a:pt x="2904" y="2569"/>
                </a:cubicBezTo>
                <a:cubicBezTo>
                  <a:pt x="2934" y="2597"/>
                  <a:pt x="2954" y="2614"/>
                  <a:pt x="2993" y="2627"/>
                </a:cubicBezTo>
                <a:cubicBezTo>
                  <a:pt x="3022" y="2637"/>
                  <a:pt x="3039" y="2643"/>
                  <a:pt x="3069" y="2632"/>
                </a:cubicBezTo>
                <a:cubicBezTo>
                  <a:pt x="3090" y="2624"/>
                  <a:pt x="3097" y="2621"/>
                  <a:pt x="3109" y="2611"/>
                </a:cubicBezTo>
              </a:path>
              <a:path w="7282" h="4686" extrusionOk="0">
                <a:moveTo>
                  <a:pt x="6302" y="3420"/>
                </a:moveTo>
                <a:cubicBezTo>
                  <a:pt x="6294" y="3400"/>
                  <a:pt x="6288" y="3381"/>
                  <a:pt x="6283" y="3360"/>
                </a:cubicBezTo>
                <a:cubicBezTo>
                  <a:pt x="6301" y="3386"/>
                  <a:pt x="6312" y="3391"/>
                  <a:pt x="6345" y="3393"/>
                </a:cubicBezTo>
                <a:cubicBezTo>
                  <a:pt x="6374" y="3394"/>
                  <a:pt x="6392" y="3391"/>
                  <a:pt x="6417" y="3375"/>
                </a:cubicBezTo>
                <a:cubicBezTo>
                  <a:pt x="6442" y="3359"/>
                  <a:pt x="6468" y="3337"/>
                  <a:pt x="6488" y="3314"/>
                </a:cubicBezTo>
                <a:cubicBezTo>
                  <a:pt x="6510" y="3289"/>
                  <a:pt x="6529" y="3258"/>
                  <a:pt x="6545" y="3229"/>
                </a:cubicBezTo>
                <a:cubicBezTo>
                  <a:pt x="6560" y="3202"/>
                  <a:pt x="6572" y="3154"/>
                  <a:pt x="6605" y="3144"/>
                </a:cubicBezTo>
                <a:cubicBezTo>
                  <a:pt x="6626" y="3138"/>
                  <a:pt x="6665" y="3151"/>
                  <a:pt x="6683" y="3161"/>
                </a:cubicBezTo>
                <a:cubicBezTo>
                  <a:pt x="6714" y="3178"/>
                  <a:pt x="6744" y="3204"/>
                  <a:pt x="6773" y="3224"/>
                </a:cubicBezTo>
                <a:cubicBezTo>
                  <a:pt x="6803" y="3245"/>
                  <a:pt x="6799" y="3277"/>
                  <a:pt x="6815" y="3305"/>
                </a:cubicBezTo>
              </a:path>
              <a:path w="7282" h="4686" extrusionOk="0">
                <a:moveTo>
                  <a:pt x="6693" y="3430"/>
                </a:moveTo>
                <a:cubicBezTo>
                  <a:pt x="6683" y="3392"/>
                  <a:pt x="6703" y="3397"/>
                  <a:pt x="6740" y="3390"/>
                </a:cubicBezTo>
                <a:cubicBezTo>
                  <a:pt x="6771" y="3385"/>
                  <a:pt x="6802" y="3377"/>
                  <a:pt x="6832" y="3369"/>
                </a:cubicBezTo>
                <a:cubicBezTo>
                  <a:pt x="6874" y="3358"/>
                  <a:pt x="6917" y="3350"/>
                  <a:pt x="6960" y="3342"/>
                </a:cubicBezTo>
                <a:cubicBezTo>
                  <a:pt x="7002" y="3335"/>
                  <a:pt x="7036" y="3336"/>
                  <a:pt x="7075" y="3355"/>
                </a:cubicBezTo>
                <a:cubicBezTo>
                  <a:pt x="7090" y="3364"/>
                  <a:pt x="7095" y="3367"/>
                  <a:pt x="7085" y="3380"/>
                </a:cubicBezTo>
              </a:path>
              <a:path w="7282" h="4686" extrusionOk="0">
                <a:moveTo>
                  <a:pt x="6652" y="3510"/>
                </a:moveTo>
                <a:cubicBezTo>
                  <a:pt x="6685" y="3506"/>
                  <a:pt x="6681" y="3529"/>
                  <a:pt x="6688" y="3568"/>
                </a:cubicBezTo>
                <a:cubicBezTo>
                  <a:pt x="6699" y="3627"/>
                  <a:pt x="6711" y="3687"/>
                  <a:pt x="6717" y="3747"/>
                </a:cubicBezTo>
                <a:cubicBezTo>
                  <a:pt x="6725" y="3836"/>
                  <a:pt x="6725" y="3927"/>
                  <a:pt x="6713" y="4015"/>
                </a:cubicBezTo>
                <a:cubicBezTo>
                  <a:pt x="6709" y="4043"/>
                  <a:pt x="6705" y="4072"/>
                  <a:pt x="6702" y="4100"/>
                </a:cubicBezTo>
                <a:cubicBezTo>
                  <a:pt x="6729" y="4111"/>
                  <a:pt x="6752" y="4107"/>
                  <a:pt x="6783" y="4106"/>
                </a:cubicBezTo>
                <a:cubicBezTo>
                  <a:pt x="6821" y="4105"/>
                  <a:pt x="6859" y="4104"/>
                  <a:pt x="6897" y="4101"/>
                </a:cubicBezTo>
                <a:cubicBezTo>
                  <a:pt x="6939" y="4098"/>
                  <a:pt x="6977" y="4089"/>
                  <a:pt x="7018" y="4078"/>
                </a:cubicBezTo>
                <a:cubicBezTo>
                  <a:pt x="7063" y="4066"/>
                  <a:pt x="7089" y="4071"/>
                  <a:pt x="7131" y="4087"/>
                </a:cubicBezTo>
                <a:cubicBezTo>
                  <a:pt x="7125" y="4056"/>
                  <a:pt x="7119" y="4024"/>
                  <a:pt x="7113" y="3992"/>
                </a:cubicBezTo>
                <a:cubicBezTo>
                  <a:pt x="7086" y="3854"/>
                  <a:pt x="7067" y="3713"/>
                  <a:pt x="7053" y="3573"/>
                </a:cubicBezTo>
                <a:cubicBezTo>
                  <a:pt x="7047" y="3514"/>
                  <a:pt x="7042" y="3454"/>
                  <a:pt x="7040" y="3395"/>
                </a:cubicBezTo>
                <a:cubicBezTo>
                  <a:pt x="7040" y="3375"/>
                  <a:pt x="7040" y="3368"/>
                  <a:pt x="7038" y="3355"/>
                </a:cubicBezTo>
              </a:path>
              <a:path w="7282" h="4686" extrusionOk="0">
                <a:moveTo>
                  <a:pt x="5572" y="1520"/>
                </a:moveTo>
                <a:cubicBezTo>
                  <a:pt x="5597" y="1496"/>
                  <a:pt x="5620" y="1476"/>
                  <a:pt x="5650" y="1456"/>
                </a:cubicBezTo>
                <a:cubicBezTo>
                  <a:pt x="5683" y="1434"/>
                  <a:pt x="5718" y="1414"/>
                  <a:pt x="5752" y="1394"/>
                </a:cubicBezTo>
                <a:cubicBezTo>
                  <a:pt x="5803" y="1364"/>
                  <a:pt x="5854" y="1333"/>
                  <a:pt x="5907" y="1306"/>
                </a:cubicBezTo>
                <a:cubicBezTo>
                  <a:pt x="5996" y="1261"/>
                  <a:pt x="6091" y="1227"/>
                  <a:pt x="6187" y="1200"/>
                </a:cubicBezTo>
                <a:cubicBezTo>
                  <a:pt x="6367" y="1150"/>
                  <a:pt x="6607" y="1096"/>
                  <a:pt x="6783" y="1188"/>
                </a:cubicBezTo>
                <a:cubicBezTo>
                  <a:pt x="6825" y="1210"/>
                  <a:pt x="6860" y="1243"/>
                  <a:pt x="6890" y="1279"/>
                </a:cubicBezTo>
                <a:cubicBezTo>
                  <a:pt x="6914" y="1308"/>
                  <a:pt x="6936" y="1338"/>
                  <a:pt x="6962" y="1366"/>
                </a:cubicBezTo>
                <a:cubicBezTo>
                  <a:pt x="6987" y="1393"/>
                  <a:pt x="7003" y="1407"/>
                  <a:pt x="7011" y="1441"/>
                </a:cubicBezTo>
                <a:cubicBezTo>
                  <a:pt x="7011" y="1446"/>
                  <a:pt x="7010" y="1452"/>
                  <a:pt x="7010" y="1457"/>
                </a:cubicBezTo>
              </a:path>
              <a:path w="7282" h="4686" extrusionOk="0">
                <a:moveTo>
                  <a:pt x="5684" y="1903"/>
                </a:moveTo>
                <a:cubicBezTo>
                  <a:pt x="5698" y="1875"/>
                  <a:pt x="5705" y="1850"/>
                  <a:pt x="5724" y="1825"/>
                </a:cubicBezTo>
                <a:cubicBezTo>
                  <a:pt x="5745" y="1797"/>
                  <a:pt x="5771" y="1782"/>
                  <a:pt x="5802" y="1766"/>
                </a:cubicBezTo>
                <a:cubicBezTo>
                  <a:pt x="5869" y="1732"/>
                  <a:pt x="5939" y="1702"/>
                  <a:pt x="6007" y="1670"/>
                </a:cubicBezTo>
                <a:cubicBezTo>
                  <a:pt x="6145" y="1605"/>
                  <a:pt x="6301" y="1516"/>
                  <a:pt x="6457" y="1510"/>
                </a:cubicBezTo>
                <a:cubicBezTo>
                  <a:pt x="6517" y="1508"/>
                  <a:pt x="6582" y="1533"/>
                  <a:pt x="6625" y="1575"/>
                </a:cubicBezTo>
                <a:cubicBezTo>
                  <a:pt x="6686" y="1635"/>
                  <a:pt x="6717" y="1706"/>
                  <a:pt x="6795" y="1748"/>
                </a:cubicBezTo>
                <a:cubicBezTo>
                  <a:pt x="6821" y="1762"/>
                  <a:pt x="6850" y="1768"/>
                  <a:pt x="6878" y="1778"/>
                </a:cubicBezTo>
                <a:cubicBezTo>
                  <a:pt x="6937" y="1799"/>
                  <a:pt x="6850" y="1753"/>
                  <a:pt x="6843" y="1748"/>
                </a:cubicBezTo>
              </a:path>
              <a:path w="7282" h="4686" extrusionOk="0">
                <a:moveTo>
                  <a:pt x="6950" y="1426"/>
                </a:moveTo>
                <a:cubicBezTo>
                  <a:pt x="6978" y="1399"/>
                  <a:pt x="6946" y="1453"/>
                  <a:pt x="6948" y="1485"/>
                </a:cubicBezTo>
                <a:cubicBezTo>
                  <a:pt x="6951" y="1538"/>
                  <a:pt x="6956" y="1592"/>
                  <a:pt x="6957" y="1645"/>
                </a:cubicBezTo>
                <a:cubicBezTo>
                  <a:pt x="6958" y="1705"/>
                  <a:pt x="6952" y="1765"/>
                  <a:pt x="6950" y="1825"/>
                </a:cubicBezTo>
                <a:cubicBezTo>
                  <a:pt x="6949" y="1854"/>
                  <a:pt x="6947" y="1856"/>
                  <a:pt x="6960" y="1879"/>
                </a:cubicBezTo>
                <a:cubicBezTo>
                  <a:pt x="6962" y="1860"/>
                  <a:pt x="6963" y="1852"/>
                  <a:pt x="6958" y="1839"/>
                </a:cubicBezTo>
              </a:path>
              <a:path w="7282" h="4686" extrusionOk="0">
                <a:moveTo>
                  <a:pt x="6968" y="1721"/>
                </a:moveTo>
                <a:cubicBezTo>
                  <a:pt x="6995" y="1752"/>
                  <a:pt x="7009" y="1752"/>
                  <a:pt x="7050" y="1743"/>
                </a:cubicBezTo>
                <a:cubicBezTo>
                  <a:pt x="7088" y="1734"/>
                  <a:pt x="7122" y="1717"/>
                  <a:pt x="7156" y="1700"/>
                </a:cubicBezTo>
                <a:cubicBezTo>
                  <a:pt x="7172" y="1692"/>
                  <a:pt x="7213" y="1664"/>
                  <a:pt x="7233" y="1672"/>
                </a:cubicBezTo>
                <a:cubicBezTo>
                  <a:pt x="7251" y="1679"/>
                  <a:pt x="7262" y="1695"/>
                  <a:pt x="7281" y="1702"/>
                </a:cubicBezTo>
                <a:cubicBezTo>
                  <a:pt x="7254" y="1729"/>
                  <a:pt x="7225" y="1753"/>
                  <a:pt x="7195" y="1778"/>
                </a:cubicBezTo>
                <a:cubicBezTo>
                  <a:pt x="7164" y="1804"/>
                  <a:pt x="7134" y="1831"/>
                  <a:pt x="7103" y="1856"/>
                </a:cubicBezTo>
                <a:cubicBezTo>
                  <a:pt x="7087" y="1869"/>
                  <a:pt x="7081" y="1873"/>
                  <a:pt x="7071" y="1883"/>
                </a:cubicBezTo>
                <a:cubicBezTo>
                  <a:pt x="7098" y="1896"/>
                  <a:pt x="7125" y="1901"/>
                  <a:pt x="7153" y="1911"/>
                </a:cubicBezTo>
                <a:cubicBezTo>
                  <a:pt x="7184" y="1922"/>
                  <a:pt x="7212" y="1937"/>
                  <a:pt x="7205" y="1976"/>
                </a:cubicBezTo>
                <a:cubicBezTo>
                  <a:pt x="7198" y="2012"/>
                  <a:pt x="7167" y="2033"/>
                  <a:pt x="7138" y="2051"/>
                </a:cubicBezTo>
                <a:cubicBezTo>
                  <a:pt x="7111" y="2068"/>
                  <a:pt x="7085" y="2086"/>
                  <a:pt x="7063" y="2110"/>
                </a:cubicBezTo>
                <a:cubicBezTo>
                  <a:pt x="7044" y="2131"/>
                  <a:pt x="7035" y="2152"/>
                  <a:pt x="7030" y="2179"/>
                </a:cubicBezTo>
                <a:cubicBezTo>
                  <a:pt x="7000" y="2168"/>
                  <a:pt x="6984" y="2165"/>
                  <a:pt x="6953" y="2177"/>
                </a:cubicBezTo>
                <a:cubicBezTo>
                  <a:pt x="6948" y="2179"/>
                  <a:pt x="6943" y="2182"/>
                  <a:pt x="6938" y="2184"/>
                </a:cubicBezTo>
                <a:cubicBezTo>
                  <a:pt x="6927" y="2114"/>
                  <a:pt x="6932" y="2042"/>
                  <a:pt x="6922" y="1972"/>
                </a:cubicBezTo>
              </a:path>
              <a:path w="7282" h="4686" extrusionOk="0">
                <a:moveTo>
                  <a:pt x="5522" y="1569"/>
                </a:moveTo>
                <a:cubicBezTo>
                  <a:pt x="5529" y="1525"/>
                  <a:pt x="5541" y="1492"/>
                  <a:pt x="5564" y="1454"/>
                </a:cubicBezTo>
                <a:cubicBezTo>
                  <a:pt x="5569" y="1488"/>
                  <a:pt x="5568" y="1524"/>
                  <a:pt x="5567" y="1559"/>
                </a:cubicBezTo>
                <a:cubicBezTo>
                  <a:pt x="5566" y="1621"/>
                  <a:pt x="5565" y="1683"/>
                  <a:pt x="5567" y="1745"/>
                </a:cubicBezTo>
                <a:cubicBezTo>
                  <a:pt x="5569" y="1827"/>
                  <a:pt x="5571" y="1910"/>
                  <a:pt x="5572" y="1992"/>
                </a:cubicBezTo>
                <a:cubicBezTo>
                  <a:pt x="5573" y="2049"/>
                  <a:pt x="5573" y="2105"/>
                  <a:pt x="5574" y="2162"/>
                </a:cubicBezTo>
                <a:cubicBezTo>
                  <a:pt x="5575" y="2219"/>
                  <a:pt x="5591" y="2183"/>
                  <a:pt x="5594" y="2149"/>
                </a:cubicBezTo>
                <a:cubicBezTo>
                  <a:pt x="5593" y="2140"/>
                  <a:pt x="5593" y="2131"/>
                  <a:pt x="5592" y="2122"/>
                </a:cubicBezTo>
              </a:path>
              <a:path w="7282" h="4686" extrusionOk="0">
                <a:moveTo>
                  <a:pt x="5584" y="1781"/>
                </a:moveTo>
                <a:cubicBezTo>
                  <a:pt x="5581" y="1807"/>
                  <a:pt x="5578" y="1803"/>
                  <a:pt x="5607" y="1803"/>
                </a:cubicBezTo>
                <a:cubicBezTo>
                  <a:pt x="5579" y="1815"/>
                  <a:pt x="5562" y="1812"/>
                  <a:pt x="5532" y="1813"/>
                </a:cubicBezTo>
                <a:cubicBezTo>
                  <a:pt x="5488" y="1815"/>
                  <a:pt x="5444" y="1814"/>
                  <a:pt x="5400" y="1820"/>
                </a:cubicBezTo>
                <a:cubicBezTo>
                  <a:pt x="5370" y="1824"/>
                  <a:pt x="5334" y="1827"/>
                  <a:pt x="5305" y="1836"/>
                </a:cubicBezTo>
                <a:cubicBezTo>
                  <a:pt x="5298" y="1839"/>
                  <a:pt x="5291" y="1841"/>
                  <a:pt x="5284" y="1844"/>
                </a:cubicBezTo>
                <a:cubicBezTo>
                  <a:pt x="5309" y="1866"/>
                  <a:pt x="5335" y="1882"/>
                  <a:pt x="5362" y="1901"/>
                </a:cubicBezTo>
                <a:cubicBezTo>
                  <a:pt x="5387" y="1919"/>
                  <a:pt x="5412" y="1941"/>
                  <a:pt x="5435" y="1962"/>
                </a:cubicBezTo>
                <a:cubicBezTo>
                  <a:pt x="5458" y="1984"/>
                  <a:pt x="5482" y="2004"/>
                  <a:pt x="5504" y="2027"/>
                </a:cubicBezTo>
                <a:cubicBezTo>
                  <a:pt x="5473" y="2035"/>
                  <a:pt x="5443" y="2044"/>
                  <a:pt x="5412" y="2047"/>
                </a:cubicBezTo>
                <a:cubicBezTo>
                  <a:pt x="5355" y="2053"/>
                  <a:pt x="5270" y="2043"/>
                  <a:pt x="5224" y="2085"/>
                </a:cubicBezTo>
                <a:cubicBezTo>
                  <a:pt x="5209" y="2105"/>
                  <a:pt x="5204" y="2109"/>
                  <a:pt x="5200" y="2125"/>
                </a:cubicBezTo>
                <a:cubicBezTo>
                  <a:pt x="5222" y="2150"/>
                  <a:pt x="5239" y="2160"/>
                  <a:pt x="5270" y="2172"/>
                </a:cubicBezTo>
                <a:cubicBezTo>
                  <a:pt x="5321" y="2192"/>
                  <a:pt x="5370" y="2216"/>
                  <a:pt x="5422" y="2232"/>
                </a:cubicBezTo>
                <a:cubicBezTo>
                  <a:pt x="5444" y="2239"/>
                  <a:pt x="5465" y="2242"/>
                  <a:pt x="5487" y="2237"/>
                </a:cubicBezTo>
                <a:cubicBezTo>
                  <a:pt x="5523" y="2229"/>
                  <a:pt x="5536" y="2223"/>
                  <a:pt x="5567" y="2242"/>
                </a:cubicBezTo>
                <a:cubicBezTo>
                  <a:pt x="5588" y="2255"/>
                  <a:pt x="5605" y="2267"/>
                  <a:pt x="5627" y="2278"/>
                </a:cubicBezTo>
              </a:path>
              <a:path w="7282" h="4686" extrusionOk="0">
                <a:moveTo>
                  <a:pt x="3699" y="1349"/>
                </a:moveTo>
                <a:cubicBezTo>
                  <a:pt x="3666" y="1314"/>
                  <a:pt x="3658" y="1342"/>
                  <a:pt x="3638" y="1376"/>
                </a:cubicBezTo>
                <a:cubicBezTo>
                  <a:pt x="3612" y="1421"/>
                  <a:pt x="3604" y="1467"/>
                  <a:pt x="3603" y="1519"/>
                </a:cubicBezTo>
                <a:cubicBezTo>
                  <a:pt x="3601" y="1583"/>
                  <a:pt x="3615" y="1645"/>
                  <a:pt x="3653" y="1697"/>
                </a:cubicBezTo>
                <a:cubicBezTo>
                  <a:pt x="3690" y="1748"/>
                  <a:pt x="3749" y="1770"/>
                  <a:pt x="3811" y="1761"/>
                </a:cubicBezTo>
                <a:cubicBezTo>
                  <a:pt x="3882" y="1751"/>
                  <a:pt x="3939" y="1697"/>
                  <a:pt x="3981" y="1643"/>
                </a:cubicBezTo>
                <a:cubicBezTo>
                  <a:pt x="4020" y="1593"/>
                  <a:pt x="4052" y="1526"/>
                  <a:pt x="4041" y="1461"/>
                </a:cubicBezTo>
                <a:cubicBezTo>
                  <a:pt x="4030" y="1394"/>
                  <a:pt x="3972" y="1362"/>
                  <a:pt x="3913" y="1344"/>
                </a:cubicBezTo>
                <a:cubicBezTo>
                  <a:pt x="3853" y="1325"/>
                  <a:pt x="3771" y="1318"/>
                  <a:pt x="3709" y="1334"/>
                </a:cubicBezTo>
                <a:cubicBezTo>
                  <a:pt x="3649" y="1349"/>
                  <a:pt x="3726" y="1374"/>
                  <a:pt x="3734" y="1377"/>
                </a:cubicBezTo>
              </a:path>
              <a:path w="7282" h="4686" extrusionOk="0">
                <a:moveTo>
                  <a:pt x="3967" y="1810"/>
                </a:moveTo>
                <a:cubicBezTo>
                  <a:pt x="3951" y="1849"/>
                  <a:pt x="3947" y="1871"/>
                  <a:pt x="3962" y="1911"/>
                </a:cubicBezTo>
                <a:cubicBezTo>
                  <a:pt x="3972" y="1939"/>
                  <a:pt x="3988" y="1964"/>
                  <a:pt x="4016" y="1976"/>
                </a:cubicBezTo>
                <a:cubicBezTo>
                  <a:pt x="4044" y="1988"/>
                  <a:pt x="4074" y="1976"/>
                  <a:pt x="4097" y="1959"/>
                </a:cubicBezTo>
                <a:cubicBezTo>
                  <a:pt x="4131" y="1933"/>
                  <a:pt x="4147" y="1904"/>
                  <a:pt x="4116" y="1869"/>
                </a:cubicBezTo>
                <a:cubicBezTo>
                  <a:pt x="4099" y="1850"/>
                  <a:pt x="4066" y="1830"/>
                  <a:pt x="4044" y="1818"/>
                </a:cubicBezTo>
                <a:cubicBezTo>
                  <a:pt x="4018" y="1804"/>
                  <a:pt x="4002" y="1798"/>
                  <a:pt x="3974" y="1800"/>
                </a:cubicBezTo>
              </a:path>
              <a:path w="7282" h="4686" extrusionOk="0">
                <a:moveTo>
                  <a:pt x="3674" y="1956"/>
                </a:moveTo>
                <a:cubicBezTo>
                  <a:pt x="3642" y="1987"/>
                  <a:pt x="3624" y="2003"/>
                  <a:pt x="3633" y="2051"/>
                </a:cubicBezTo>
                <a:cubicBezTo>
                  <a:pt x="3638" y="2076"/>
                  <a:pt x="3653" y="2103"/>
                  <a:pt x="3676" y="2115"/>
                </a:cubicBezTo>
                <a:cubicBezTo>
                  <a:pt x="3712" y="2134"/>
                  <a:pt x="3751" y="2114"/>
                  <a:pt x="3783" y="2095"/>
                </a:cubicBezTo>
                <a:cubicBezTo>
                  <a:pt x="3828" y="2068"/>
                  <a:pt x="3890" y="2021"/>
                  <a:pt x="3903" y="1966"/>
                </a:cubicBezTo>
                <a:cubicBezTo>
                  <a:pt x="3913" y="1924"/>
                  <a:pt x="3885" y="1894"/>
                  <a:pt x="3849" y="1879"/>
                </a:cubicBezTo>
                <a:cubicBezTo>
                  <a:pt x="3805" y="1861"/>
                  <a:pt x="3735" y="1854"/>
                  <a:pt x="3689" y="1869"/>
                </a:cubicBezTo>
                <a:cubicBezTo>
                  <a:pt x="3600" y="1898"/>
                  <a:pt x="3739" y="1888"/>
                  <a:pt x="3749" y="1886"/>
                </a:cubicBezTo>
              </a:path>
              <a:path w="7282" h="4686" extrusionOk="0">
                <a:moveTo>
                  <a:pt x="4955" y="2910"/>
                </a:moveTo>
                <a:cubicBezTo>
                  <a:pt x="4984" y="2903"/>
                  <a:pt x="4979" y="2908"/>
                  <a:pt x="5009" y="2910"/>
                </a:cubicBezTo>
                <a:cubicBezTo>
                  <a:pt x="5051" y="2914"/>
                  <a:pt x="5092" y="2924"/>
                  <a:pt x="5134" y="2928"/>
                </a:cubicBezTo>
                <a:cubicBezTo>
                  <a:pt x="5184" y="2933"/>
                  <a:pt x="5232" y="2938"/>
                  <a:pt x="5282" y="2938"/>
                </a:cubicBezTo>
                <a:cubicBezTo>
                  <a:pt x="5317" y="2938"/>
                  <a:pt x="5350" y="2936"/>
                  <a:pt x="5384" y="2931"/>
                </a:cubicBezTo>
                <a:cubicBezTo>
                  <a:pt x="5399" y="2930"/>
                  <a:pt x="5405" y="2930"/>
                  <a:pt x="5414" y="2925"/>
                </a:cubicBezTo>
                <a:cubicBezTo>
                  <a:pt x="5392" y="2896"/>
                  <a:pt x="5382" y="2891"/>
                  <a:pt x="5374" y="2853"/>
                </a:cubicBezTo>
                <a:cubicBezTo>
                  <a:pt x="5357" y="2773"/>
                  <a:pt x="5363" y="2685"/>
                  <a:pt x="5367" y="2604"/>
                </a:cubicBezTo>
                <a:cubicBezTo>
                  <a:pt x="5367" y="2586"/>
                  <a:pt x="5367" y="2581"/>
                  <a:pt x="5369" y="2569"/>
                </a:cubicBezTo>
                <a:cubicBezTo>
                  <a:pt x="5383" y="2600"/>
                  <a:pt x="5396" y="2627"/>
                  <a:pt x="5415" y="2656"/>
                </a:cubicBezTo>
                <a:cubicBezTo>
                  <a:pt x="5458" y="2722"/>
                  <a:pt x="5508" y="2783"/>
                  <a:pt x="5549" y="2850"/>
                </a:cubicBezTo>
                <a:cubicBezTo>
                  <a:pt x="5574" y="2891"/>
                  <a:pt x="5593" y="2934"/>
                  <a:pt x="5615" y="2976"/>
                </a:cubicBezTo>
                <a:cubicBezTo>
                  <a:pt x="5631" y="3007"/>
                  <a:pt x="5651" y="3044"/>
                  <a:pt x="5679" y="3066"/>
                </a:cubicBezTo>
                <a:cubicBezTo>
                  <a:pt x="5705" y="3086"/>
                  <a:pt x="5731" y="3101"/>
                  <a:pt x="5764" y="3104"/>
                </a:cubicBezTo>
                <a:cubicBezTo>
                  <a:pt x="5810" y="3108"/>
                  <a:pt x="5805" y="3083"/>
                  <a:pt x="5822" y="3064"/>
                </a:cubicBezTo>
                <a:cubicBezTo>
                  <a:pt x="5773" y="3059"/>
                  <a:pt x="5752" y="3060"/>
                  <a:pt x="5704" y="3086"/>
                </a:cubicBezTo>
                <a:cubicBezTo>
                  <a:pt x="5592" y="3145"/>
                  <a:pt x="5500" y="3234"/>
                  <a:pt x="5404" y="3315"/>
                </a:cubicBezTo>
                <a:cubicBezTo>
                  <a:pt x="5385" y="3331"/>
                  <a:pt x="5340" y="3360"/>
                  <a:pt x="5340" y="3388"/>
                </a:cubicBezTo>
                <a:cubicBezTo>
                  <a:pt x="5337" y="3405"/>
                  <a:pt x="5336" y="3411"/>
                  <a:pt x="5352" y="3413"/>
                </a:cubicBezTo>
                <a:cubicBezTo>
                  <a:pt x="5363" y="3385"/>
                  <a:pt x="5382" y="3356"/>
                  <a:pt x="5389" y="3327"/>
                </a:cubicBezTo>
                <a:cubicBezTo>
                  <a:pt x="5395" y="3305"/>
                  <a:pt x="5402" y="3270"/>
                  <a:pt x="5400" y="3247"/>
                </a:cubicBezTo>
                <a:cubicBezTo>
                  <a:pt x="5396" y="3202"/>
                  <a:pt x="5395" y="3218"/>
                  <a:pt x="5415" y="3182"/>
                </a:cubicBezTo>
                <a:cubicBezTo>
                  <a:pt x="5391" y="3182"/>
                  <a:pt x="5363" y="3180"/>
                  <a:pt x="5337" y="3182"/>
                </a:cubicBezTo>
                <a:cubicBezTo>
                  <a:pt x="5300" y="3184"/>
                  <a:pt x="5274" y="3195"/>
                  <a:pt x="5240" y="3209"/>
                </a:cubicBezTo>
                <a:cubicBezTo>
                  <a:pt x="5210" y="3222"/>
                  <a:pt x="5185" y="3242"/>
                  <a:pt x="5157" y="3256"/>
                </a:cubicBezTo>
                <a:cubicBezTo>
                  <a:pt x="5150" y="3259"/>
                  <a:pt x="5142" y="3261"/>
                  <a:pt x="5135" y="3264"/>
                </a:cubicBezTo>
                <a:cubicBezTo>
                  <a:pt x="5153" y="3249"/>
                  <a:pt x="5164" y="3234"/>
                  <a:pt x="5199" y="3221"/>
                </a:cubicBezTo>
              </a:path>
              <a:path w="7282" h="4686" extrusionOk="0">
                <a:moveTo>
                  <a:pt x="1502" y="3448"/>
                </a:moveTo>
                <a:cubicBezTo>
                  <a:pt x="1536" y="3442"/>
                  <a:pt x="1510" y="3427"/>
                  <a:pt x="1573" y="3465"/>
                </a:cubicBezTo>
                <a:cubicBezTo>
                  <a:pt x="1725" y="3555"/>
                  <a:pt x="1868" y="3669"/>
                  <a:pt x="1983" y="3804"/>
                </a:cubicBezTo>
                <a:cubicBezTo>
                  <a:pt x="2049" y="3881"/>
                  <a:pt x="2094" y="3972"/>
                  <a:pt x="2116" y="4070"/>
                </a:cubicBezTo>
                <a:cubicBezTo>
                  <a:pt x="2134" y="4148"/>
                  <a:pt x="2125" y="4217"/>
                  <a:pt x="2116" y="4294"/>
                </a:cubicBezTo>
                <a:cubicBezTo>
                  <a:pt x="2105" y="4384"/>
                  <a:pt x="2088" y="4330"/>
                  <a:pt x="2080" y="4276"/>
                </a:cubicBezTo>
              </a:path>
              <a:path w="7282" h="4686" extrusionOk="0">
                <a:moveTo>
                  <a:pt x="1966" y="3212"/>
                </a:moveTo>
                <a:cubicBezTo>
                  <a:pt x="1955" y="3196"/>
                  <a:pt x="1951" y="3190"/>
                  <a:pt x="1936" y="3189"/>
                </a:cubicBezTo>
                <a:cubicBezTo>
                  <a:pt x="1964" y="3213"/>
                  <a:pt x="1973" y="3215"/>
                  <a:pt x="2006" y="3232"/>
                </a:cubicBezTo>
                <a:cubicBezTo>
                  <a:pt x="2113" y="3288"/>
                  <a:pt x="2208" y="3366"/>
                  <a:pt x="2300" y="3445"/>
                </a:cubicBezTo>
                <a:cubicBezTo>
                  <a:pt x="2387" y="3520"/>
                  <a:pt x="2478" y="3610"/>
                  <a:pt x="2531" y="3713"/>
                </a:cubicBezTo>
                <a:cubicBezTo>
                  <a:pt x="2554" y="3757"/>
                  <a:pt x="2571" y="3820"/>
                  <a:pt x="2553" y="3869"/>
                </a:cubicBezTo>
                <a:cubicBezTo>
                  <a:pt x="2540" y="3904"/>
                  <a:pt x="2520" y="3897"/>
                  <a:pt x="2490" y="3897"/>
                </a:cubicBezTo>
              </a:path>
              <a:path w="7282" h="4686" extrusionOk="0">
                <a:moveTo>
                  <a:pt x="2160" y="2742"/>
                </a:moveTo>
                <a:cubicBezTo>
                  <a:pt x="2140" y="2736"/>
                  <a:pt x="2127" y="2735"/>
                  <a:pt x="2108" y="2732"/>
                </a:cubicBezTo>
                <a:cubicBezTo>
                  <a:pt x="2156" y="2746"/>
                  <a:pt x="2203" y="2761"/>
                  <a:pt x="2251" y="2774"/>
                </a:cubicBezTo>
                <a:cubicBezTo>
                  <a:pt x="2396" y="2814"/>
                  <a:pt x="2570" y="2849"/>
                  <a:pt x="2690" y="2945"/>
                </a:cubicBezTo>
                <a:cubicBezTo>
                  <a:pt x="2777" y="3015"/>
                  <a:pt x="2800" y="3113"/>
                  <a:pt x="2793" y="3221"/>
                </a:cubicBezTo>
                <a:cubicBezTo>
                  <a:pt x="2786" y="3329"/>
                  <a:pt x="2747" y="3429"/>
                  <a:pt x="2713" y="3530"/>
                </a:cubicBezTo>
              </a:path>
              <a:path w="7282" h="4686" extrusionOk="0">
                <a:moveTo>
                  <a:pt x="437" y="2024"/>
                </a:moveTo>
                <a:cubicBezTo>
                  <a:pt x="407" y="2021"/>
                  <a:pt x="397" y="1997"/>
                  <a:pt x="362" y="2036"/>
                </a:cubicBezTo>
                <a:cubicBezTo>
                  <a:pt x="322" y="2081"/>
                  <a:pt x="303" y="2150"/>
                  <a:pt x="294" y="2208"/>
                </a:cubicBezTo>
                <a:cubicBezTo>
                  <a:pt x="279" y="2305"/>
                  <a:pt x="283" y="2408"/>
                  <a:pt x="305" y="2504"/>
                </a:cubicBezTo>
                <a:cubicBezTo>
                  <a:pt x="329" y="2610"/>
                  <a:pt x="377" y="2718"/>
                  <a:pt x="450" y="2800"/>
                </a:cubicBezTo>
                <a:cubicBezTo>
                  <a:pt x="514" y="2872"/>
                  <a:pt x="595" y="2918"/>
                  <a:pt x="687" y="2941"/>
                </a:cubicBezTo>
                <a:cubicBezTo>
                  <a:pt x="746" y="2956"/>
                  <a:pt x="812" y="2960"/>
                  <a:pt x="872" y="2950"/>
                </a:cubicBezTo>
                <a:cubicBezTo>
                  <a:pt x="908" y="2944"/>
                  <a:pt x="929" y="2940"/>
                  <a:pt x="915" y="2898"/>
                </a:cubicBezTo>
                <a:cubicBezTo>
                  <a:pt x="906" y="2877"/>
                  <a:pt x="901" y="2868"/>
                  <a:pt x="892" y="2855"/>
                </a:cubicBezTo>
              </a:path>
              <a:path w="7282" h="4686" extrusionOk="0">
                <a:moveTo>
                  <a:pt x="509" y="1992"/>
                </a:moveTo>
                <a:cubicBezTo>
                  <a:pt x="478" y="2007"/>
                  <a:pt x="442" y="2018"/>
                  <a:pt x="415" y="2046"/>
                </a:cubicBezTo>
                <a:cubicBezTo>
                  <a:pt x="371" y="2091"/>
                  <a:pt x="326" y="2142"/>
                  <a:pt x="292" y="2197"/>
                </a:cubicBezTo>
                <a:cubicBezTo>
                  <a:pt x="240" y="2282"/>
                  <a:pt x="201" y="2374"/>
                  <a:pt x="179" y="2471"/>
                </a:cubicBezTo>
                <a:cubicBezTo>
                  <a:pt x="140" y="2646"/>
                  <a:pt x="142" y="2859"/>
                  <a:pt x="234" y="3018"/>
                </a:cubicBezTo>
                <a:cubicBezTo>
                  <a:pt x="296" y="3125"/>
                  <a:pt x="415" y="3188"/>
                  <a:pt x="537" y="3189"/>
                </a:cubicBezTo>
                <a:cubicBezTo>
                  <a:pt x="618" y="3189"/>
                  <a:pt x="696" y="3162"/>
                  <a:pt x="770" y="3131"/>
                </a:cubicBezTo>
                <a:cubicBezTo>
                  <a:pt x="804" y="3117"/>
                  <a:pt x="850" y="3072"/>
                  <a:pt x="880" y="3063"/>
                </a:cubicBezTo>
                <a:cubicBezTo>
                  <a:pt x="896" y="3063"/>
                  <a:pt x="902" y="3063"/>
                  <a:pt x="913" y="3066"/>
                </a:cubicBezTo>
              </a:path>
              <a:path w="7282" h="4686" extrusionOk="0">
                <a:moveTo>
                  <a:pt x="962" y="2916"/>
                </a:moveTo>
                <a:cubicBezTo>
                  <a:pt x="922" y="2933"/>
                  <a:pt x="890" y="2960"/>
                  <a:pt x="868" y="3000"/>
                </a:cubicBezTo>
                <a:cubicBezTo>
                  <a:pt x="841" y="3050"/>
                  <a:pt x="816" y="3114"/>
                  <a:pt x="822" y="3172"/>
                </a:cubicBezTo>
                <a:cubicBezTo>
                  <a:pt x="834" y="3280"/>
                  <a:pt x="933" y="3318"/>
                  <a:pt x="1025" y="3345"/>
                </a:cubicBezTo>
                <a:cubicBezTo>
                  <a:pt x="1137" y="3378"/>
                  <a:pt x="1256" y="3389"/>
                  <a:pt x="1372" y="3398"/>
                </a:cubicBezTo>
                <a:cubicBezTo>
                  <a:pt x="1473" y="3406"/>
                  <a:pt x="1581" y="3412"/>
                  <a:pt x="1678" y="3378"/>
                </a:cubicBezTo>
                <a:cubicBezTo>
                  <a:pt x="1781" y="3342"/>
                  <a:pt x="1838" y="3243"/>
                  <a:pt x="1860" y="3141"/>
                </a:cubicBezTo>
                <a:cubicBezTo>
                  <a:pt x="1873" y="3082"/>
                  <a:pt x="1871" y="3007"/>
                  <a:pt x="1837" y="2955"/>
                </a:cubicBezTo>
                <a:cubicBezTo>
                  <a:pt x="1816" y="2922"/>
                  <a:pt x="1806" y="2937"/>
                  <a:pt x="1780" y="2931"/>
                </a:cubicBezTo>
                <a:cubicBezTo>
                  <a:pt x="1798" y="2952"/>
                  <a:pt x="1815" y="2975"/>
                  <a:pt x="1837" y="2996"/>
                </a:cubicBezTo>
              </a:path>
              <a:path w="7282" h="4686" extrusionOk="0">
                <a:moveTo>
                  <a:pt x="990" y="2971"/>
                </a:moveTo>
                <a:cubicBezTo>
                  <a:pt x="970" y="2999"/>
                  <a:pt x="950" y="3024"/>
                  <a:pt x="942" y="3059"/>
                </a:cubicBezTo>
                <a:cubicBezTo>
                  <a:pt x="931" y="3109"/>
                  <a:pt x="924" y="3176"/>
                  <a:pt x="938" y="3226"/>
                </a:cubicBezTo>
                <a:cubicBezTo>
                  <a:pt x="959" y="3301"/>
                  <a:pt x="1018" y="3350"/>
                  <a:pt x="1090" y="3375"/>
                </a:cubicBezTo>
                <a:cubicBezTo>
                  <a:pt x="1198" y="3413"/>
                  <a:pt x="1325" y="3403"/>
                  <a:pt x="1435" y="3378"/>
                </a:cubicBezTo>
                <a:cubicBezTo>
                  <a:pt x="1558" y="3350"/>
                  <a:pt x="1674" y="3290"/>
                  <a:pt x="1773" y="3212"/>
                </a:cubicBezTo>
                <a:cubicBezTo>
                  <a:pt x="1839" y="3160"/>
                  <a:pt x="1898" y="3094"/>
                  <a:pt x="1905" y="3006"/>
                </a:cubicBezTo>
                <a:cubicBezTo>
                  <a:pt x="1909" y="2955"/>
                  <a:pt x="1881" y="2907"/>
                  <a:pt x="1845" y="2873"/>
                </a:cubicBezTo>
                <a:cubicBezTo>
                  <a:pt x="1837" y="2866"/>
                  <a:pt x="1750" y="2814"/>
                  <a:pt x="1810" y="2863"/>
                </a:cubicBezTo>
                <a:cubicBezTo>
                  <a:pt x="1817" y="2867"/>
                  <a:pt x="1823" y="2871"/>
                  <a:pt x="1830" y="2875"/>
                </a:cubicBezTo>
              </a:path>
              <a:path w="7282" h="4686" extrusionOk="0">
                <a:moveTo>
                  <a:pt x="2000" y="3049"/>
                </a:moveTo>
                <a:cubicBezTo>
                  <a:pt x="1989" y="3074"/>
                  <a:pt x="1959" y="3124"/>
                  <a:pt x="1998" y="3144"/>
                </a:cubicBezTo>
                <a:cubicBezTo>
                  <a:pt x="2045" y="3168"/>
                  <a:pt x="2133" y="3128"/>
                  <a:pt x="2173" y="3106"/>
                </a:cubicBezTo>
                <a:cubicBezTo>
                  <a:pt x="2249" y="3064"/>
                  <a:pt x="2323" y="3002"/>
                  <a:pt x="2373" y="2931"/>
                </a:cubicBezTo>
                <a:cubicBezTo>
                  <a:pt x="2403" y="2888"/>
                  <a:pt x="2436" y="2819"/>
                  <a:pt x="2395" y="2772"/>
                </a:cubicBezTo>
                <a:cubicBezTo>
                  <a:pt x="2353" y="2723"/>
                  <a:pt x="2261" y="2712"/>
                  <a:pt x="2203" y="2702"/>
                </a:cubicBezTo>
                <a:cubicBezTo>
                  <a:pt x="2143" y="2691"/>
                  <a:pt x="1977" y="2728"/>
                  <a:pt x="2020" y="2685"/>
                </a:cubicBezTo>
                <a:cubicBezTo>
                  <a:pt x="2038" y="2667"/>
                  <a:pt x="2109" y="2683"/>
                  <a:pt x="2131" y="2684"/>
                </a:cubicBezTo>
              </a:path>
              <a:path w="7282" h="4686" extrusionOk="0">
                <a:moveTo>
                  <a:pt x="1948" y="3182"/>
                </a:moveTo>
                <a:cubicBezTo>
                  <a:pt x="1975" y="3171"/>
                  <a:pt x="2002" y="3158"/>
                  <a:pt x="2030" y="3151"/>
                </a:cubicBezTo>
                <a:cubicBezTo>
                  <a:pt x="2074" y="3140"/>
                  <a:pt x="2119" y="3139"/>
                  <a:pt x="2163" y="3133"/>
                </a:cubicBezTo>
                <a:cubicBezTo>
                  <a:pt x="2221" y="3125"/>
                  <a:pt x="2252" y="3101"/>
                  <a:pt x="2295" y="3064"/>
                </a:cubicBezTo>
                <a:cubicBezTo>
                  <a:pt x="2331" y="3033"/>
                  <a:pt x="2357" y="2987"/>
                  <a:pt x="2351" y="2936"/>
                </a:cubicBezTo>
                <a:cubicBezTo>
                  <a:pt x="2344" y="2880"/>
                  <a:pt x="2288" y="2852"/>
                  <a:pt x="2241" y="2835"/>
                </a:cubicBezTo>
                <a:cubicBezTo>
                  <a:pt x="2181" y="2814"/>
                  <a:pt x="2119" y="2809"/>
                  <a:pt x="2056" y="2808"/>
                </a:cubicBezTo>
                <a:cubicBezTo>
                  <a:pt x="2009" y="2807"/>
                  <a:pt x="2021" y="2820"/>
                  <a:pt x="2046" y="2832"/>
                </a:cubicBezTo>
              </a:path>
              <a:path w="7282" h="4686" extrusionOk="0">
                <a:moveTo>
                  <a:pt x="1930" y="2685"/>
                </a:moveTo>
                <a:cubicBezTo>
                  <a:pt x="1980" y="2696"/>
                  <a:pt x="2015" y="2692"/>
                  <a:pt x="2066" y="2680"/>
                </a:cubicBezTo>
                <a:cubicBezTo>
                  <a:pt x="2145" y="2661"/>
                  <a:pt x="2220" y="2633"/>
                  <a:pt x="2283" y="2581"/>
                </a:cubicBezTo>
                <a:cubicBezTo>
                  <a:pt x="2360" y="2518"/>
                  <a:pt x="2432" y="2434"/>
                  <a:pt x="2476" y="2345"/>
                </a:cubicBezTo>
                <a:cubicBezTo>
                  <a:pt x="2522" y="2252"/>
                  <a:pt x="2551" y="2141"/>
                  <a:pt x="2553" y="2037"/>
                </a:cubicBezTo>
                <a:cubicBezTo>
                  <a:pt x="2555" y="1903"/>
                  <a:pt x="2509" y="1755"/>
                  <a:pt x="2410" y="1662"/>
                </a:cubicBezTo>
                <a:cubicBezTo>
                  <a:pt x="2355" y="1610"/>
                  <a:pt x="2290" y="1606"/>
                  <a:pt x="2225" y="1642"/>
                </a:cubicBezTo>
                <a:cubicBezTo>
                  <a:pt x="2194" y="1660"/>
                  <a:pt x="2147" y="1695"/>
                  <a:pt x="2145" y="1735"/>
                </a:cubicBezTo>
                <a:cubicBezTo>
                  <a:pt x="2151" y="1752"/>
                  <a:pt x="2154" y="1758"/>
                  <a:pt x="2160" y="1768"/>
                </a:cubicBezTo>
                <a:cubicBezTo>
                  <a:pt x="2200" y="1779"/>
                  <a:pt x="2233" y="1784"/>
                  <a:pt x="2275" y="1783"/>
                </a:cubicBezTo>
                <a:cubicBezTo>
                  <a:pt x="2349" y="1782"/>
                  <a:pt x="2438" y="1768"/>
                  <a:pt x="2508" y="1800"/>
                </a:cubicBezTo>
                <a:cubicBezTo>
                  <a:pt x="2575" y="1830"/>
                  <a:pt x="2571" y="1902"/>
                  <a:pt x="2558" y="1964"/>
                </a:cubicBezTo>
                <a:cubicBezTo>
                  <a:pt x="2532" y="2086"/>
                  <a:pt x="2467" y="2201"/>
                  <a:pt x="2410" y="2311"/>
                </a:cubicBezTo>
                <a:cubicBezTo>
                  <a:pt x="2350" y="2427"/>
                  <a:pt x="2287" y="2541"/>
                  <a:pt x="2216" y="2651"/>
                </a:cubicBezTo>
                <a:cubicBezTo>
                  <a:pt x="2192" y="2688"/>
                  <a:pt x="2151" y="2769"/>
                  <a:pt x="2098" y="2774"/>
                </a:cubicBezTo>
                <a:cubicBezTo>
                  <a:pt x="2066" y="2777"/>
                  <a:pt x="2030" y="2739"/>
                  <a:pt x="2016" y="2714"/>
                </a:cubicBezTo>
                <a:cubicBezTo>
                  <a:pt x="1998" y="2681"/>
                  <a:pt x="1992" y="2666"/>
                  <a:pt x="2005" y="2631"/>
                </a:cubicBezTo>
                <a:cubicBezTo>
                  <a:pt x="2020" y="2590"/>
                  <a:pt x="2096" y="2579"/>
                  <a:pt x="2128" y="2561"/>
                </a:cubicBezTo>
                <a:cubicBezTo>
                  <a:pt x="2184" y="2530"/>
                  <a:pt x="2246" y="2493"/>
                  <a:pt x="2293" y="2449"/>
                </a:cubicBezTo>
                <a:cubicBezTo>
                  <a:pt x="2303" y="2438"/>
                  <a:pt x="2313" y="2426"/>
                  <a:pt x="2323" y="2415"/>
                </a:cubicBezTo>
              </a:path>
              <a:path w="7282" h="4686" extrusionOk="0">
                <a:moveTo>
                  <a:pt x="1973" y="1343"/>
                </a:moveTo>
                <a:cubicBezTo>
                  <a:pt x="2014" y="1382"/>
                  <a:pt x="2059" y="1405"/>
                  <a:pt x="2106" y="1436"/>
                </a:cubicBezTo>
                <a:cubicBezTo>
                  <a:pt x="2169" y="1478"/>
                  <a:pt x="2234" y="1525"/>
                  <a:pt x="2273" y="1592"/>
                </a:cubicBezTo>
                <a:cubicBezTo>
                  <a:pt x="2311" y="1657"/>
                  <a:pt x="2295" y="1725"/>
                  <a:pt x="2255" y="1785"/>
                </a:cubicBezTo>
                <a:cubicBezTo>
                  <a:pt x="2211" y="1851"/>
                  <a:pt x="2151" y="1902"/>
                  <a:pt x="2078" y="1933"/>
                </a:cubicBezTo>
                <a:cubicBezTo>
                  <a:pt x="2030" y="1948"/>
                  <a:pt x="2018" y="1952"/>
                  <a:pt x="1986" y="1956"/>
                </a:cubicBezTo>
              </a:path>
              <a:path w="7282" h="4686" extrusionOk="0">
                <a:moveTo>
                  <a:pt x="532" y="1909"/>
                </a:moveTo>
                <a:cubicBezTo>
                  <a:pt x="501" y="1909"/>
                  <a:pt x="481" y="1901"/>
                  <a:pt x="449" y="1921"/>
                </a:cubicBezTo>
                <a:cubicBezTo>
                  <a:pt x="406" y="1948"/>
                  <a:pt x="371" y="2024"/>
                  <a:pt x="354" y="2069"/>
                </a:cubicBezTo>
                <a:cubicBezTo>
                  <a:pt x="273" y="2279"/>
                  <a:pt x="250" y="2542"/>
                  <a:pt x="290" y="2762"/>
                </a:cubicBezTo>
                <a:cubicBezTo>
                  <a:pt x="310" y="2873"/>
                  <a:pt x="354" y="2994"/>
                  <a:pt x="465" y="3043"/>
                </a:cubicBezTo>
                <a:cubicBezTo>
                  <a:pt x="618" y="3111"/>
                  <a:pt x="843" y="3031"/>
                  <a:pt x="967" y="2935"/>
                </a:cubicBezTo>
                <a:cubicBezTo>
                  <a:pt x="1007" y="2904"/>
                  <a:pt x="1050" y="2867"/>
                  <a:pt x="1065" y="2817"/>
                </a:cubicBezTo>
                <a:cubicBezTo>
                  <a:pt x="1067" y="2797"/>
                  <a:pt x="1068" y="2790"/>
                  <a:pt x="1065" y="2777"/>
                </a:cubicBezTo>
              </a:path>
              <a:path w="7282" h="4686" extrusionOk="0">
                <a:moveTo>
                  <a:pt x="12" y="30"/>
                </a:moveTo>
                <a:cubicBezTo>
                  <a:pt x="-8" y="-7"/>
                  <a:pt x="10" y="0"/>
                  <a:pt x="40" y="15"/>
                </a:cubicBezTo>
              </a:path>
              <a:path w="7282" h="4686" extrusionOk="0">
                <a:moveTo>
                  <a:pt x="119" y="517"/>
                </a:moveTo>
                <a:cubicBezTo>
                  <a:pt x="112" y="514"/>
                  <a:pt x="104" y="510"/>
                  <a:pt x="97" y="507"/>
                </a:cubicBezTo>
                <a:cubicBezTo>
                  <a:pt x="99" y="546"/>
                  <a:pt x="120" y="534"/>
                  <a:pt x="157" y="523"/>
                </a:cubicBezTo>
              </a:path>
              <a:path w="7282" h="4686" extrusionOk="0">
                <a:moveTo>
                  <a:pt x="1890" y="387"/>
                </a:moveTo>
                <a:cubicBezTo>
                  <a:pt x="1887" y="380"/>
                  <a:pt x="1883" y="374"/>
                  <a:pt x="1880" y="367"/>
                </a:cubicBezTo>
                <a:cubicBezTo>
                  <a:pt x="1913" y="355"/>
                  <a:pt x="1914" y="368"/>
                  <a:pt x="1926" y="400"/>
                </a:cubicBezTo>
              </a:path>
              <a:path w="7282" h="4686" extrusionOk="0">
                <a:moveTo>
                  <a:pt x="2210" y="440"/>
                </a:moveTo>
                <a:cubicBezTo>
                  <a:pt x="2237" y="455"/>
                  <a:pt x="2257" y="460"/>
                  <a:pt x="2286" y="462"/>
                </a:cubicBezTo>
                <a:cubicBezTo>
                  <a:pt x="2330" y="465"/>
                  <a:pt x="2374" y="459"/>
                  <a:pt x="2418" y="460"/>
                </a:cubicBezTo>
                <a:cubicBezTo>
                  <a:pt x="2485" y="461"/>
                  <a:pt x="2556" y="466"/>
                  <a:pt x="2616" y="498"/>
                </a:cubicBezTo>
                <a:cubicBezTo>
                  <a:pt x="2655" y="519"/>
                  <a:pt x="2692" y="552"/>
                  <a:pt x="2725" y="581"/>
                </a:cubicBezTo>
                <a:cubicBezTo>
                  <a:pt x="2742" y="597"/>
                  <a:pt x="2746" y="601"/>
                  <a:pt x="2758" y="610"/>
                </a:cubicBezTo>
              </a:path>
              <a:path w="7282" h="4686" extrusionOk="0">
                <a:moveTo>
                  <a:pt x="2091" y="857"/>
                </a:moveTo>
                <a:cubicBezTo>
                  <a:pt x="2073" y="856"/>
                  <a:pt x="2070" y="855"/>
                  <a:pt x="2095" y="851"/>
                </a:cubicBezTo>
              </a:path>
              <a:path w="7282" h="4686" extrusionOk="0">
                <a:moveTo>
                  <a:pt x="2163" y="806"/>
                </a:moveTo>
                <a:cubicBezTo>
                  <a:pt x="2192" y="793"/>
                  <a:pt x="2215" y="785"/>
                  <a:pt x="2246" y="787"/>
                </a:cubicBezTo>
                <a:cubicBezTo>
                  <a:pt x="2286" y="789"/>
                  <a:pt x="2326" y="789"/>
                  <a:pt x="2366" y="794"/>
                </a:cubicBezTo>
                <a:cubicBezTo>
                  <a:pt x="2417" y="800"/>
                  <a:pt x="2466" y="809"/>
                  <a:pt x="2516" y="821"/>
                </a:cubicBezTo>
                <a:cubicBezTo>
                  <a:pt x="2570" y="834"/>
                  <a:pt x="2625" y="846"/>
                  <a:pt x="2678" y="862"/>
                </a:cubicBezTo>
                <a:cubicBezTo>
                  <a:pt x="2714" y="873"/>
                  <a:pt x="2748" y="887"/>
                  <a:pt x="2780" y="905"/>
                </a:cubicBezTo>
                <a:cubicBezTo>
                  <a:pt x="2750" y="923"/>
                  <a:pt x="2750" y="921"/>
                  <a:pt x="2716" y="907"/>
                </a:cubicBezTo>
              </a:path>
              <a:path w="7282" h="4686" extrusionOk="0">
                <a:moveTo>
                  <a:pt x="1862" y="822"/>
                </a:moveTo>
                <a:cubicBezTo>
                  <a:pt x="1847" y="789"/>
                  <a:pt x="1854" y="786"/>
                  <a:pt x="1891" y="782"/>
                </a:cubicBezTo>
                <a:cubicBezTo>
                  <a:pt x="1922" y="779"/>
                  <a:pt x="1929" y="779"/>
                  <a:pt x="1948" y="776"/>
                </a:cubicBezTo>
              </a:path>
              <a:path w="7282" h="4686" extrusionOk="0">
                <a:moveTo>
                  <a:pt x="3719" y="997"/>
                </a:moveTo>
                <a:cubicBezTo>
                  <a:pt x="3669" y="955"/>
                  <a:pt x="3657" y="933"/>
                  <a:pt x="3588" y="939"/>
                </a:cubicBezTo>
                <a:cubicBezTo>
                  <a:pt x="3523" y="945"/>
                  <a:pt x="3470" y="1029"/>
                  <a:pt x="3443" y="1078"/>
                </a:cubicBezTo>
                <a:cubicBezTo>
                  <a:pt x="3383" y="1188"/>
                  <a:pt x="3359" y="1319"/>
                  <a:pt x="3343" y="1442"/>
                </a:cubicBezTo>
                <a:cubicBezTo>
                  <a:pt x="3318" y="1640"/>
                  <a:pt x="3306" y="1914"/>
                  <a:pt x="3458" y="2070"/>
                </a:cubicBezTo>
                <a:cubicBezTo>
                  <a:pt x="3590" y="2205"/>
                  <a:pt x="3819" y="2203"/>
                  <a:pt x="3989" y="2170"/>
                </a:cubicBezTo>
                <a:cubicBezTo>
                  <a:pt x="4140" y="2140"/>
                  <a:pt x="4294" y="2074"/>
                  <a:pt x="4406" y="1967"/>
                </a:cubicBezTo>
                <a:cubicBezTo>
                  <a:pt x="4492" y="1885"/>
                  <a:pt x="4548" y="1762"/>
                  <a:pt x="4534" y="1642"/>
                </a:cubicBezTo>
                <a:cubicBezTo>
                  <a:pt x="4518" y="1502"/>
                  <a:pt x="4414" y="1408"/>
                  <a:pt x="4299" y="1341"/>
                </a:cubicBezTo>
                <a:cubicBezTo>
                  <a:pt x="4174" y="1268"/>
                  <a:pt x="4029" y="1230"/>
                  <a:pt x="3886" y="1215"/>
                </a:cubicBezTo>
                <a:cubicBezTo>
                  <a:pt x="3846" y="1211"/>
                  <a:pt x="3723" y="1199"/>
                  <a:pt x="3789" y="1261"/>
                </a:cubicBezTo>
                <a:cubicBezTo>
                  <a:pt x="3805" y="1269"/>
                  <a:pt x="3822" y="1276"/>
                  <a:pt x="3838" y="1284"/>
                </a:cubicBezTo>
              </a:path>
              <a:path w="7282" h="4686" extrusionOk="0">
                <a:moveTo>
                  <a:pt x="3808" y="4299"/>
                </a:moveTo>
                <a:cubicBezTo>
                  <a:pt x="3834" y="4286"/>
                  <a:pt x="3835" y="4319"/>
                  <a:pt x="3839" y="4354"/>
                </a:cubicBezTo>
                <a:cubicBezTo>
                  <a:pt x="3844" y="4399"/>
                  <a:pt x="3842" y="4447"/>
                  <a:pt x="3849" y="4492"/>
                </a:cubicBezTo>
                <a:cubicBezTo>
                  <a:pt x="3855" y="4534"/>
                  <a:pt x="3864" y="4582"/>
                  <a:pt x="3879" y="4622"/>
                </a:cubicBezTo>
                <a:cubicBezTo>
                  <a:pt x="3889" y="4640"/>
                  <a:pt x="3893" y="4647"/>
                  <a:pt x="3903" y="4657"/>
                </a:cubicBezTo>
              </a:path>
              <a:path w="7282" h="4686" extrusionOk="0">
                <a:moveTo>
                  <a:pt x="3863" y="4211"/>
                </a:moveTo>
                <a:cubicBezTo>
                  <a:pt x="3864" y="4175"/>
                  <a:pt x="3858" y="4154"/>
                  <a:pt x="3898" y="4143"/>
                </a:cubicBezTo>
                <a:cubicBezTo>
                  <a:pt x="3933" y="4134"/>
                  <a:pt x="3975" y="4134"/>
                  <a:pt x="4011" y="4130"/>
                </a:cubicBezTo>
                <a:cubicBezTo>
                  <a:pt x="4083" y="4122"/>
                  <a:pt x="4154" y="4107"/>
                  <a:pt x="4226" y="4100"/>
                </a:cubicBezTo>
                <a:cubicBezTo>
                  <a:pt x="4263" y="4096"/>
                  <a:pt x="4297" y="4094"/>
                  <a:pt x="4302" y="4140"/>
                </a:cubicBezTo>
                <a:cubicBezTo>
                  <a:pt x="4308" y="4195"/>
                  <a:pt x="4283" y="4253"/>
                  <a:pt x="4269" y="4304"/>
                </a:cubicBezTo>
                <a:cubicBezTo>
                  <a:pt x="4253" y="4363"/>
                  <a:pt x="4230" y="4434"/>
                  <a:pt x="4244" y="4495"/>
                </a:cubicBezTo>
                <a:cubicBezTo>
                  <a:pt x="4247" y="4507"/>
                  <a:pt x="4299" y="4561"/>
                  <a:pt x="4306" y="4539"/>
                </a:cubicBezTo>
                <a:cubicBezTo>
                  <a:pt x="4304" y="4532"/>
                  <a:pt x="4301" y="4526"/>
                  <a:pt x="4299" y="4519"/>
                </a:cubicBezTo>
              </a:path>
            </a:pathLst>
          </a:custGeom>
          <a:noFill/>
          <a:ln w="19050" cap="rnd">
            <a:solidFill>
              <a:schemeClr val="tx1"/>
            </a:solidFill>
            <a:round/>
            <a:headEnd/>
            <a:tailEnd/>
          </a:ln>
        </p:spPr>
        <p:txBody>
          <a:bodyPr>
            <a:prstTxWarp prst="textNoShape">
              <a:avLst/>
            </a:prstTxWarp>
          </a:bodyPr>
          <a:lstStyle/>
          <a:p>
            <a:endParaRPr lang="en-US"/>
          </a:p>
        </p:txBody>
      </p:sp>
      <p:sp>
        <p:nvSpPr>
          <p:cNvPr id="43012" name="Freeform 23"/>
          <p:cNvSpPr>
            <a:spLocks noRot="1" noChangeAspect="1" noEditPoints="1" noChangeArrowheads="1" noChangeShapeType="1" noTextEdit="1"/>
          </p:cNvSpPr>
          <p:nvPr>
            <p:custDataLst>
              <p:tags r:id="rId3"/>
            </p:custDataLst>
          </p:nvPr>
        </p:nvSpPr>
        <p:spPr bwMode="auto">
          <a:xfrm>
            <a:off x="1879600" y="2827338"/>
            <a:ext cx="776288" cy="647700"/>
          </a:xfrm>
          <a:custGeom>
            <a:avLst/>
            <a:gdLst>
              <a:gd name="T0" fmla="*/ 301149 w 2155"/>
              <a:gd name="T1" fmla="*/ 181975 h 1801"/>
              <a:gd name="T2" fmla="*/ 393007 w 2155"/>
              <a:gd name="T3" fmla="*/ 420412 h 1801"/>
              <a:gd name="T4" fmla="*/ 621751 w 2155"/>
              <a:gd name="T5" fmla="*/ 401351 h 1801"/>
              <a:gd name="T6" fmla="*/ 603379 w 2155"/>
              <a:gd name="T7" fmla="*/ 231604 h 1801"/>
              <a:gd name="T8" fmla="*/ 379318 w 2155"/>
              <a:gd name="T9" fmla="*/ 93505 h 1801"/>
              <a:gd name="T10" fmla="*/ 381840 w 2155"/>
              <a:gd name="T11" fmla="*/ 124433 h 1801"/>
              <a:gd name="T12" fmla="*/ 323483 w 2155"/>
              <a:gd name="T13" fmla="*/ 188448 h 1801"/>
              <a:gd name="T14" fmla="*/ 323483 w 2155"/>
              <a:gd name="T15" fmla="*/ 253542 h 1801"/>
              <a:gd name="T16" fmla="*/ 355183 w 2155"/>
              <a:gd name="T17" fmla="*/ 575773 h 1801"/>
              <a:gd name="T18" fmla="*/ 591132 w 2155"/>
              <a:gd name="T19" fmla="*/ 421131 h 1801"/>
              <a:gd name="T20" fmla="*/ 658494 w 2155"/>
              <a:gd name="T21" fmla="*/ 365388 h 1801"/>
              <a:gd name="T22" fmla="*/ 426148 w 2155"/>
              <a:gd name="T23" fmla="*/ 311083 h 1801"/>
              <a:gd name="T24" fmla="*/ 456047 w 2155"/>
              <a:gd name="T25" fmla="*/ 285189 h 1801"/>
              <a:gd name="T26" fmla="*/ 609863 w 2155"/>
              <a:gd name="T27" fmla="*/ 138819 h 1801"/>
              <a:gd name="T28" fmla="*/ 712528 w 2155"/>
              <a:gd name="T29" fmla="*/ 41358 h 1801"/>
              <a:gd name="T30" fmla="*/ 674704 w 2155"/>
              <a:gd name="T31" fmla="*/ 45673 h 1801"/>
              <a:gd name="T32" fmla="*/ 714329 w 2155"/>
              <a:gd name="T33" fmla="*/ 62936 h 1801"/>
              <a:gd name="T34" fmla="*/ 774127 w 2155"/>
              <a:gd name="T35" fmla="*/ 3596 h 1801"/>
              <a:gd name="T36" fmla="*/ 689113 w 2155"/>
              <a:gd name="T37" fmla="*/ 22297 h 1801"/>
              <a:gd name="T38" fmla="*/ 488107 w 2155"/>
              <a:gd name="T39" fmla="*/ 428683 h 1801"/>
              <a:gd name="T40" fmla="*/ 433352 w 2155"/>
              <a:gd name="T41" fmla="*/ 637271 h 1801"/>
              <a:gd name="T42" fmla="*/ 471897 w 2155"/>
              <a:gd name="T43" fmla="*/ 627920 h 1801"/>
              <a:gd name="T44" fmla="*/ 609863 w 2155"/>
              <a:gd name="T45" fmla="*/ 557792 h 1801"/>
              <a:gd name="T46" fmla="*/ 660295 w 2155"/>
              <a:gd name="T47" fmla="*/ 543047 h 1801"/>
              <a:gd name="T48" fmla="*/ 596175 w 2155"/>
              <a:gd name="T49" fmla="*/ 481190 h 1801"/>
              <a:gd name="T50" fmla="*/ 497473 w 2155"/>
              <a:gd name="T51" fmla="*/ 440551 h 1801"/>
              <a:gd name="T52" fmla="*/ 364909 w 2155"/>
              <a:gd name="T53" fmla="*/ 348125 h 1801"/>
              <a:gd name="T54" fmla="*/ 349420 w 2155"/>
              <a:gd name="T55" fmla="*/ 321153 h 1801"/>
              <a:gd name="T56" fmla="*/ 244234 w 2155"/>
              <a:gd name="T57" fmla="*/ 268646 h 1801"/>
              <a:gd name="T58" fmla="*/ 35302 w 2155"/>
              <a:gd name="T59" fmla="*/ 141696 h 1801"/>
              <a:gd name="T60" fmla="*/ 62319 w 2155"/>
              <a:gd name="T61" fmla="*/ 150327 h 1801"/>
              <a:gd name="T62" fmla="*/ 208931 w 2155"/>
              <a:gd name="T63" fmla="*/ 148529 h 1801"/>
              <a:gd name="T64" fmla="*/ 84653 w 2155"/>
              <a:gd name="T65" fmla="*/ 224771 h 1801"/>
              <a:gd name="T66" fmla="*/ 106987 w 2155"/>
              <a:gd name="T67" fmla="*/ 233402 h 1801"/>
              <a:gd name="T68" fmla="*/ 186597 w 2155"/>
              <a:gd name="T69" fmla="*/ 238797 h 1801"/>
              <a:gd name="T70" fmla="*/ 71325 w 2155"/>
              <a:gd name="T71" fmla="*/ 306767 h 1801"/>
              <a:gd name="T72" fmla="*/ 151295 w 2155"/>
              <a:gd name="T73" fmla="*/ 281593 h 1801"/>
              <a:gd name="T74" fmla="*/ 207851 w 2155"/>
              <a:gd name="T75" fmla="*/ 295978 h 1801"/>
              <a:gd name="T76" fmla="*/ 130402 w 2155"/>
              <a:gd name="T77" fmla="*/ 360712 h 1801"/>
              <a:gd name="T78" fmla="*/ 208931 w 2155"/>
              <a:gd name="T79" fmla="*/ 366467 h 1801"/>
              <a:gd name="T80" fmla="*/ 0 w 2155"/>
              <a:gd name="T81" fmla="*/ 472918 h 1801"/>
              <a:gd name="T82" fmla="*/ 99062 w 2155"/>
              <a:gd name="T83" fmla="*/ 481909 h 1801"/>
              <a:gd name="T84" fmla="*/ 258282 w 2155"/>
              <a:gd name="T85" fmla="*/ 506004 h 180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155"/>
              <a:gd name="T130" fmla="*/ 0 h 1801"/>
              <a:gd name="T131" fmla="*/ 2155 w 2155"/>
              <a:gd name="T132" fmla="*/ 1801 h 180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155" h="1801" extrusionOk="0">
                <a:moveTo>
                  <a:pt x="881" y="464"/>
                </a:moveTo>
                <a:cubicBezTo>
                  <a:pt x="855" y="469"/>
                  <a:pt x="843" y="447"/>
                  <a:pt x="836" y="506"/>
                </a:cubicBezTo>
                <a:cubicBezTo>
                  <a:pt x="825" y="594"/>
                  <a:pt x="855" y="708"/>
                  <a:pt x="876" y="792"/>
                </a:cubicBezTo>
                <a:cubicBezTo>
                  <a:pt x="911" y="933"/>
                  <a:pt x="972" y="1079"/>
                  <a:pt x="1091" y="1169"/>
                </a:cubicBezTo>
                <a:cubicBezTo>
                  <a:pt x="1167" y="1227"/>
                  <a:pt x="1271" y="1261"/>
                  <a:pt x="1366" y="1260"/>
                </a:cubicBezTo>
                <a:cubicBezTo>
                  <a:pt x="1500" y="1259"/>
                  <a:pt x="1627" y="1204"/>
                  <a:pt x="1726" y="1116"/>
                </a:cubicBezTo>
                <a:cubicBezTo>
                  <a:pt x="1802" y="1048"/>
                  <a:pt x="1870" y="942"/>
                  <a:pt x="1849" y="836"/>
                </a:cubicBezTo>
                <a:cubicBezTo>
                  <a:pt x="1832" y="749"/>
                  <a:pt x="1742" y="691"/>
                  <a:pt x="1675" y="644"/>
                </a:cubicBezTo>
                <a:cubicBezTo>
                  <a:pt x="1525" y="538"/>
                  <a:pt x="1364" y="447"/>
                  <a:pt x="1208" y="351"/>
                </a:cubicBezTo>
                <a:cubicBezTo>
                  <a:pt x="1156" y="319"/>
                  <a:pt x="1109" y="285"/>
                  <a:pt x="1053" y="260"/>
                </a:cubicBezTo>
                <a:cubicBezTo>
                  <a:pt x="1048" y="259"/>
                  <a:pt x="1043" y="257"/>
                  <a:pt x="1038" y="256"/>
                </a:cubicBezTo>
                <a:cubicBezTo>
                  <a:pt x="1039" y="289"/>
                  <a:pt x="1047" y="310"/>
                  <a:pt x="1060" y="346"/>
                </a:cubicBezTo>
                <a:cubicBezTo>
                  <a:pt x="1071" y="377"/>
                  <a:pt x="1074" y="387"/>
                  <a:pt x="1080" y="408"/>
                </a:cubicBezTo>
              </a:path>
              <a:path w="2155" h="1801" extrusionOk="0">
                <a:moveTo>
                  <a:pt x="898" y="524"/>
                </a:moveTo>
                <a:cubicBezTo>
                  <a:pt x="888" y="543"/>
                  <a:pt x="886" y="533"/>
                  <a:pt x="891" y="574"/>
                </a:cubicBezTo>
                <a:cubicBezTo>
                  <a:pt x="897" y="618"/>
                  <a:pt x="899" y="660"/>
                  <a:pt x="898" y="705"/>
                </a:cubicBezTo>
                <a:cubicBezTo>
                  <a:pt x="890" y="964"/>
                  <a:pt x="820" y="1266"/>
                  <a:pt x="915" y="1516"/>
                </a:cubicBezTo>
                <a:cubicBezTo>
                  <a:pt x="928" y="1550"/>
                  <a:pt x="948" y="1591"/>
                  <a:pt x="986" y="1601"/>
                </a:cubicBezTo>
                <a:cubicBezTo>
                  <a:pt x="1035" y="1614"/>
                  <a:pt x="1111" y="1541"/>
                  <a:pt x="1146" y="1518"/>
                </a:cubicBezTo>
                <a:cubicBezTo>
                  <a:pt x="1315" y="1408"/>
                  <a:pt x="1481" y="1293"/>
                  <a:pt x="1641" y="1171"/>
                </a:cubicBezTo>
                <a:cubicBezTo>
                  <a:pt x="1692" y="1132"/>
                  <a:pt x="1742" y="1093"/>
                  <a:pt x="1790" y="1051"/>
                </a:cubicBezTo>
                <a:cubicBezTo>
                  <a:pt x="1809" y="1035"/>
                  <a:pt x="1816" y="1029"/>
                  <a:pt x="1828" y="1016"/>
                </a:cubicBezTo>
                <a:cubicBezTo>
                  <a:pt x="1772" y="1016"/>
                  <a:pt x="1794" y="1036"/>
                  <a:pt x="1745" y="989"/>
                </a:cubicBezTo>
              </a:path>
              <a:path w="2155" h="1801" extrusionOk="0">
                <a:moveTo>
                  <a:pt x="1183" y="865"/>
                </a:moveTo>
                <a:cubicBezTo>
                  <a:pt x="1175" y="849"/>
                  <a:pt x="1174" y="842"/>
                  <a:pt x="1185" y="831"/>
                </a:cubicBezTo>
                <a:cubicBezTo>
                  <a:pt x="1221" y="823"/>
                  <a:pt x="1235" y="814"/>
                  <a:pt x="1266" y="793"/>
                </a:cubicBezTo>
                <a:cubicBezTo>
                  <a:pt x="1324" y="754"/>
                  <a:pt x="1368" y="703"/>
                  <a:pt x="1418" y="655"/>
                </a:cubicBezTo>
                <a:cubicBezTo>
                  <a:pt x="1510" y="566"/>
                  <a:pt x="1603" y="477"/>
                  <a:pt x="1693" y="386"/>
                </a:cubicBezTo>
                <a:cubicBezTo>
                  <a:pt x="1768" y="310"/>
                  <a:pt x="1841" y="231"/>
                  <a:pt x="1919" y="158"/>
                </a:cubicBezTo>
                <a:cubicBezTo>
                  <a:pt x="1946" y="132"/>
                  <a:pt x="1942" y="126"/>
                  <a:pt x="1978" y="115"/>
                </a:cubicBezTo>
              </a:path>
              <a:path w="2155" h="1801" extrusionOk="0">
                <a:moveTo>
                  <a:pt x="1924" y="24"/>
                </a:moveTo>
                <a:cubicBezTo>
                  <a:pt x="1908" y="57"/>
                  <a:pt x="1886" y="93"/>
                  <a:pt x="1873" y="127"/>
                </a:cubicBezTo>
                <a:cubicBezTo>
                  <a:pt x="1859" y="165"/>
                  <a:pt x="1848" y="187"/>
                  <a:pt x="1866" y="222"/>
                </a:cubicBezTo>
                <a:cubicBezTo>
                  <a:pt x="1908" y="212"/>
                  <a:pt x="1946" y="198"/>
                  <a:pt x="1983" y="175"/>
                </a:cubicBezTo>
                <a:cubicBezTo>
                  <a:pt x="2031" y="146"/>
                  <a:pt x="2091" y="111"/>
                  <a:pt x="2129" y="69"/>
                </a:cubicBezTo>
                <a:cubicBezTo>
                  <a:pt x="2149" y="47"/>
                  <a:pt x="2152" y="35"/>
                  <a:pt x="2149" y="10"/>
                </a:cubicBezTo>
                <a:cubicBezTo>
                  <a:pt x="2090" y="0"/>
                  <a:pt x="2043" y="7"/>
                  <a:pt x="1984" y="25"/>
                </a:cubicBezTo>
                <a:cubicBezTo>
                  <a:pt x="1955" y="34"/>
                  <a:pt x="1871" y="42"/>
                  <a:pt x="1913" y="62"/>
                </a:cubicBezTo>
              </a:path>
              <a:path w="2155" h="1801" extrusionOk="0">
                <a:moveTo>
                  <a:pt x="1341" y="1264"/>
                </a:moveTo>
                <a:cubicBezTo>
                  <a:pt x="1336" y="1231"/>
                  <a:pt x="1341" y="1222"/>
                  <a:pt x="1355" y="1192"/>
                </a:cubicBezTo>
                <a:cubicBezTo>
                  <a:pt x="1368" y="1228"/>
                  <a:pt x="1363" y="1255"/>
                  <a:pt x="1355" y="1294"/>
                </a:cubicBezTo>
                <a:cubicBezTo>
                  <a:pt x="1320" y="1454"/>
                  <a:pt x="1213" y="1608"/>
                  <a:pt x="1203" y="1772"/>
                </a:cubicBezTo>
                <a:cubicBezTo>
                  <a:pt x="1204" y="1779"/>
                  <a:pt x="1204" y="1787"/>
                  <a:pt x="1205" y="1794"/>
                </a:cubicBezTo>
                <a:cubicBezTo>
                  <a:pt x="1251" y="1798"/>
                  <a:pt x="1271" y="1774"/>
                  <a:pt x="1310" y="1746"/>
                </a:cubicBezTo>
                <a:cubicBezTo>
                  <a:pt x="1358" y="1711"/>
                  <a:pt x="1406" y="1676"/>
                  <a:pt x="1458" y="1646"/>
                </a:cubicBezTo>
                <a:cubicBezTo>
                  <a:pt x="1530" y="1604"/>
                  <a:pt x="1611" y="1568"/>
                  <a:pt x="1693" y="1551"/>
                </a:cubicBezTo>
                <a:cubicBezTo>
                  <a:pt x="1724" y="1545"/>
                  <a:pt x="1755" y="1542"/>
                  <a:pt x="1786" y="1538"/>
                </a:cubicBezTo>
                <a:cubicBezTo>
                  <a:pt x="1814" y="1534"/>
                  <a:pt x="1813" y="1526"/>
                  <a:pt x="1833" y="1510"/>
                </a:cubicBezTo>
                <a:cubicBezTo>
                  <a:pt x="1806" y="1483"/>
                  <a:pt x="1777" y="1464"/>
                  <a:pt x="1751" y="1433"/>
                </a:cubicBezTo>
                <a:cubicBezTo>
                  <a:pt x="1722" y="1398"/>
                  <a:pt x="1691" y="1366"/>
                  <a:pt x="1655" y="1338"/>
                </a:cubicBezTo>
                <a:cubicBezTo>
                  <a:pt x="1607" y="1301"/>
                  <a:pt x="1551" y="1269"/>
                  <a:pt x="1495" y="1247"/>
                </a:cubicBezTo>
                <a:cubicBezTo>
                  <a:pt x="1458" y="1233"/>
                  <a:pt x="1420" y="1227"/>
                  <a:pt x="1381" y="1225"/>
                </a:cubicBezTo>
                <a:cubicBezTo>
                  <a:pt x="1420" y="1232"/>
                  <a:pt x="1437" y="1230"/>
                  <a:pt x="1476" y="1224"/>
                </a:cubicBezTo>
              </a:path>
              <a:path w="2155" h="1801" extrusionOk="0">
                <a:moveTo>
                  <a:pt x="1013" y="968"/>
                </a:moveTo>
                <a:cubicBezTo>
                  <a:pt x="1033" y="955"/>
                  <a:pt x="1043" y="949"/>
                  <a:pt x="1055" y="930"/>
                </a:cubicBezTo>
                <a:cubicBezTo>
                  <a:pt x="1027" y="917"/>
                  <a:pt x="999" y="903"/>
                  <a:pt x="970" y="893"/>
                </a:cubicBezTo>
                <a:cubicBezTo>
                  <a:pt x="929" y="879"/>
                  <a:pt x="888" y="862"/>
                  <a:pt x="848" y="845"/>
                </a:cubicBezTo>
                <a:cubicBezTo>
                  <a:pt x="794" y="822"/>
                  <a:pt x="718" y="792"/>
                  <a:pt x="678" y="747"/>
                </a:cubicBezTo>
                <a:cubicBezTo>
                  <a:pt x="633" y="696"/>
                  <a:pt x="691" y="701"/>
                  <a:pt x="728" y="692"/>
                </a:cubicBezTo>
              </a:path>
              <a:path w="2155" h="1801" extrusionOk="0">
                <a:moveTo>
                  <a:pt x="98" y="394"/>
                </a:moveTo>
                <a:cubicBezTo>
                  <a:pt x="77" y="402"/>
                  <a:pt x="70" y="404"/>
                  <a:pt x="62" y="418"/>
                </a:cubicBezTo>
                <a:cubicBezTo>
                  <a:pt x="100" y="422"/>
                  <a:pt x="135" y="421"/>
                  <a:pt x="173" y="418"/>
                </a:cubicBezTo>
                <a:cubicBezTo>
                  <a:pt x="255" y="412"/>
                  <a:pt x="335" y="417"/>
                  <a:pt x="417" y="419"/>
                </a:cubicBezTo>
                <a:cubicBezTo>
                  <a:pt x="471" y="420"/>
                  <a:pt x="526" y="418"/>
                  <a:pt x="580" y="413"/>
                </a:cubicBezTo>
                <a:cubicBezTo>
                  <a:pt x="588" y="412"/>
                  <a:pt x="595" y="412"/>
                  <a:pt x="603" y="411"/>
                </a:cubicBezTo>
              </a:path>
              <a:path w="2155" h="1801" extrusionOk="0">
                <a:moveTo>
                  <a:pt x="235" y="625"/>
                </a:moveTo>
                <a:cubicBezTo>
                  <a:pt x="229" y="633"/>
                  <a:pt x="224" y="641"/>
                  <a:pt x="218" y="649"/>
                </a:cubicBezTo>
                <a:cubicBezTo>
                  <a:pt x="247" y="660"/>
                  <a:pt x="265" y="653"/>
                  <a:pt x="297" y="649"/>
                </a:cubicBezTo>
                <a:cubicBezTo>
                  <a:pt x="338" y="644"/>
                  <a:pt x="379" y="646"/>
                  <a:pt x="420" y="647"/>
                </a:cubicBezTo>
                <a:cubicBezTo>
                  <a:pt x="453" y="648"/>
                  <a:pt x="487" y="652"/>
                  <a:pt x="518" y="664"/>
                </a:cubicBezTo>
                <a:cubicBezTo>
                  <a:pt x="525" y="667"/>
                  <a:pt x="533" y="671"/>
                  <a:pt x="540" y="674"/>
                </a:cubicBezTo>
              </a:path>
              <a:path w="2155" h="1801" extrusionOk="0">
                <a:moveTo>
                  <a:pt x="198" y="853"/>
                </a:moveTo>
                <a:cubicBezTo>
                  <a:pt x="231" y="837"/>
                  <a:pt x="258" y="824"/>
                  <a:pt x="292" y="813"/>
                </a:cubicBezTo>
                <a:cubicBezTo>
                  <a:pt x="332" y="800"/>
                  <a:pt x="377" y="785"/>
                  <a:pt x="420" y="783"/>
                </a:cubicBezTo>
                <a:cubicBezTo>
                  <a:pt x="458" y="781"/>
                  <a:pt x="501" y="783"/>
                  <a:pt x="537" y="793"/>
                </a:cubicBezTo>
                <a:cubicBezTo>
                  <a:pt x="560" y="803"/>
                  <a:pt x="568" y="807"/>
                  <a:pt x="577" y="823"/>
                </a:cubicBezTo>
              </a:path>
              <a:path w="2155" h="1801" extrusionOk="0">
                <a:moveTo>
                  <a:pt x="230" y="1019"/>
                </a:moveTo>
                <a:cubicBezTo>
                  <a:pt x="275" y="1018"/>
                  <a:pt x="317" y="1011"/>
                  <a:pt x="362" y="1003"/>
                </a:cubicBezTo>
                <a:cubicBezTo>
                  <a:pt x="408" y="995"/>
                  <a:pt x="460" y="991"/>
                  <a:pt x="507" y="996"/>
                </a:cubicBezTo>
                <a:cubicBezTo>
                  <a:pt x="535" y="999"/>
                  <a:pt x="555" y="1008"/>
                  <a:pt x="580" y="1019"/>
                </a:cubicBezTo>
              </a:path>
              <a:path w="2155" h="1801" extrusionOk="0">
                <a:moveTo>
                  <a:pt x="58" y="1318"/>
                </a:moveTo>
                <a:cubicBezTo>
                  <a:pt x="36" y="1315"/>
                  <a:pt x="21" y="1313"/>
                  <a:pt x="0" y="1315"/>
                </a:cubicBezTo>
                <a:cubicBezTo>
                  <a:pt x="22" y="1343"/>
                  <a:pt x="49" y="1332"/>
                  <a:pt x="87" y="1333"/>
                </a:cubicBezTo>
                <a:cubicBezTo>
                  <a:pt x="150" y="1335"/>
                  <a:pt x="212" y="1337"/>
                  <a:pt x="275" y="1340"/>
                </a:cubicBezTo>
                <a:cubicBezTo>
                  <a:pt x="354" y="1344"/>
                  <a:pt x="431" y="1358"/>
                  <a:pt x="508" y="1372"/>
                </a:cubicBezTo>
                <a:cubicBezTo>
                  <a:pt x="577" y="1385"/>
                  <a:pt x="647" y="1401"/>
                  <a:pt x="717" y="1407"/>
                </a:cubicBezTo>
                <a:cubicBezTo>
                  <a:pt x="738" y="1408"/>
                  <a:pt x="745" y="1408"/>
                  <a:pt x="758" y="1412"/>
                </a:cubicBezTo>
              </a:path>
            </a:pathLst>
          </a:custGeom>
          <a:noFill/>
          <a:ln w="19050" cap="rnd">
            <a:solidFill>
              <a:schemeClr val="tx1"/>
            </a:solidFill>
            <a:round/>
            <a:headEnd/>
            <a:tailEnd/>
          </a:ln>
        </p:spPr>
        <p:txBody>
          <a:bodyPr>
            <a:prstTxWarp prst="textNoShape">
              <a:avLst/>
            </a:prstTxWarp>
          </a:bodyPr>
          <a:lstStyle/>
          <a:p>
            <a:endParaRPr lang="en-US"/>
          </a:p>
        </p:txBody>
      </p:sp>
      <p:sp>
        <p:nvSpPr>
          <p:cNvPr id="43013" name="Freeform 24"/>
          <p:cNvSpPr>
            <a:spLocks noRot="1" noChangeAspect="1" noEditPoints="1" noChangeArrowheads="1" noChangeShapeType="1" noTextEdit="1"/>
          </p:cNvSpPr>
          <p:nvPr>
            <p:custDataLst>
              <p:tags r:id="rId4"/>
            </p:custDataLst>
          </p:nvPr>
        </p:nvSpPr>
        <p:spPr bwMode="auto">
          <a:xfrm>
            <a:off x="3209925" y="2516188"/>
            <a:ext cx="387350" cy="569912"/>
          </a:xfrm>
          <a:custGeom>
            <a:avLst/>
            <a:gdLst>
              <a:gd name="T0" fmla="*/ 90526 w 1074"/>
              <a:gd name="T1" fmla="*/ 377783 h 1584"/>
              <a:gd name="T2" fmla="*/ 0 w 1074"/>
              <a:gd name="T3" fmla="*/ 198965 h 1584"/>
              <a:gd name="T4" fmla="*/ 72493 w 1074"/>
              <a:gd name="T5" fmla="*/ 42815 h 1584"/>
              <a:gd name="T6" fmla="*/ 240922 w 1074"/>
              <a:gd name="T7" fmla="*/ 6476 h 1584"/>
              <a:gd name="T8" fmla="*/ 340103 w 1074"/>
              <a:gd name="T9" fmla="*/ 116933 h 1584"/>
              <a:gd name="T10" fmla="*/ 363546 w 1074"/>
              <a:gd name="T11" fmla="*/ 288194 h 1584"/>
              <a:gd name="T12" fmla="*/ 337579 w 1074"/>
              <a:gd name="T13" fmla="*/ 347920 h 1584"/>
              <a:gd name="T14" fmla="*/ 347317 w 1074"/>
              <a:gd name="T15" fmla="*/ 398651 h 1584"/>
              <a:gd name="T16" fmla="*/ 365350 w 1074"/>
              <a:gd name="T17" fmla="*/ 514864 h 1584"/>
              <a:gd name="T18" fmla="*/ 287086 w 1074"/>
              <a:gd name="T19" fmla="*/ 547605 h 1584"/>
              <a:gd name="T20" fmla="*/ 239118 w 1074"/>
              <a:gd name="T21" fmla="*/ 566674 h 1584"/>
              <a:gd name="T22" fmla="*/ 218200 w 1074"/>
              <a:gd name="T23" fmla="*/ 496154 h 1584"/>
              <a:gd name="T24" fmla="*/ 227577 w 1074"/>
              <a:gd name="T25" fmla="*/ 450101 h 1584"/>
              <a:gd name="T26" fmla="*/ 261840 w 1074"/>
              <a:gd name="T27" fmla="*/ 479604 h 1584"/>
              <a:gd name="T28" fmla="*/ 277709 w 1074"/>
              <a:gd name="T29" fmla="*/ 524938 h 1584"/>
              <a:gd name="T30" fmla="*/ 353809 w 1074"/>
              <a:gd name="T31" fmla="*/ 514864 h 1584"/>
              <a:gd name="T32" fmla="*/ 344792 w 1074"/>
              <a:gd name="T33" fmla="*/ 470969 h 1584"/>
              <a:gd name="T34" fmla="*/ 386989 w 1074"/>
              <a:gd name="T35" fmla="*/ 501551 h 1584"/>
              <a:gd name="T36" fmla="*/ 386989 w 1074"/>
              <a:gd name="T37" fmla="*/ 501551 h 1584"/>
              <a:gd name="T38" fmla="*/ 314857 w 1074"/>
              <a:gd name="T39" fmla="*/ 522060 h 1584"/>
              <a:gd name="T40" fmla="*/ 292135 w 1074"/>
              <a:gd name="T41" fmla="*/ 505149 h 1584"/>
              <a:gd name="T42" fmla="*/ 293939 w 1074"/>
              <a:gd name="T43" fmla="*/ 468810 h 1584"/>
              <a:gd name="T44" fmla="*/ 137412 w 1074"/>
              <a:gd name="T45" fmla="*/ 174500 h 1584"/>
              <a:gd name="T46" fmla="*/ 184298 w 1074"/>
              <a:gd name="T47" fmla="*/ 268765 h 1584"/>
              <a:gd name="T48" fmla="*/ 203052 w 1074"/>
              <a:gd name="T49" fmla="*/ 238543 h 1584"/>
              <a:gd name="T50" fmla="*/ 175281 w 1074"/>
              <a:gd name="T51" fmla="*/ 161187 h 1584"/>
              <a:gd name="T52" fmla="*/ 278791 w 1074"/>
              <a:gd name="T53" fmla="*/ 147515 h 1584"/>
              <a:gd name="T54" fmla="*/ 284922 w 1074"/>
              <a:gd name="T55" fmla="*/ 205082 h 1584"/>
              <a:gd name="T56" fmla="*/ 346235 w 1074"/>
              <a:gd name="T57" fmla="*/ 186373 h 1584"/>
              <a:gd name="T58" fmla="*/ 279512 w 1074"/>
              <a:gd name="T59" fmla="*/ 166584 h 1584"/>
              <a:gd name="T60" fmla="*/ 246332 w 1074"/>
              <a:gd name="T61" fmla="*/ 338925 h 1584"/>
              <a:gd name="T62" fmla="*/ 258233 w 1074"/>
              <a:gd name="T63" fmla="*/ 330650 h 1584"/>
              <a:gd name="T64" fmla="*/ 288890 w 1074"/>
              <a:gd name="T65" fmla="*/ 325613 h 1584"/>
              <a:gd name="T66" fmla="*/ 293217 w 1074"/>
              <a:gd name="T67" fmla="*/ 270564 h 1584"/>
              <a:gd name="T68" fmla="*/ 324956 w 1074"/>
              <a:gd name="T69" fmla="*/ 298988 h 1584"/>
              <a:gd name="T70" fmla="*/ 310169 w 1074"/>
              <a:gd name="T71" fmla="*/ 350798 h 1584"/>
              <a:gd name="T72" fmla="*/ 269053 w 1074"/>
              <a:gd name="T73" fmla="*/ 382100 h 1584"/>
              <a:gd name="T74" fmla="*/ 254627 w 1074"/>
              <a:gd name="T75" fmla="*/ 346840 h 158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74"/>
              <a:gd name="T115" fmla="*/ 0 h 1584"/>
              <a:gd name="T116" fmla="*/ 1074 w 1074"/>
              <a:gd name="T117" fmla="*/ 1584 h 158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74" h="1584" extrusionOk="0">
                <a:moveTo>
                  <a:pt x="323" y="1116"/>
                </a:moveTo>
                <a:cubicBezTo>
                  <a:pt x="299" y="1092"/>
                  <a:pt x="276" y="1073"/>
                  <a:pt x="251" y="1050"/>
                </a:cubicBezTo>
                <a:cubicBezTo>
                  <a:pt x="185" y="990"/>
                  <a:pt x="135" y="919"/>
                  <a:pt x="88" y="844"/>
                </a:cubicBezTo>
                <a:cubicBezTo>
                  <a:pt x="33" y="756"/>
                  <a:pt x="9" y="656"/>
                  <a:pt x="0" y="553"/>
                </a:cubicBezTo>
                <a:cubicBezTo>
                  <a:pt x="-6" y="484"/>
                  <a:pt x="10" y="411"/>
                  <a:pt x="35" y="347"/>
                </a:cubicBezTo>
                <a:cubicBezTo>
                  <a:pt x="67" y="263"/>
                  <a:pt x="134" y="178"/>
                  <a:pt x="201" y="119"/>
                </a:cubicBezTo>
                <a:cubicBezTo>
                  <a:pt x="274" y="55"/>
                  <a:pt x="355" y="19"/>
                  <a:pt x="450" y="5"/>
                </a:cubicBezTo>
                <a:cubicBezTo>
                  <a:pt x="519" y="-5"/>
                  <a:pt x="601" y="-4"/>
                  <a:pt x="668" y="18"/>
                </a:cubicBezTo>
                <a:cubicBezTo>
                  <a:pt x="706" y="31"/>
                  <a:pt x="744" y="53"/>
                  <a:pt x="775" y="79"/>
                </a:cubicBezTo>
                <a:cubicBezTo>
                  <a:pt x="850" y="142"/>
                  <a:pt x="908" y="235"/>
                  <a:pt x="943" y="325"/>
                </a:cubicBezTo>
                <a:cubicBezTo>
                  <a:pt x="989" y="441"/>
                  <a:pt x="998" y="579"/>
                  <a:pt x="1006" y="703"/>
                </a:cubicBezTo>
                <a:cubicBezTo>
                  <a:pt x="1008" y="736"/>
                  <a:pt x="1009" y="768"/>
                  <a:pt x="1008" y="801"/>
                </a:cubicBezTo>
                <a:cubicBezTo>
                  <a:pt x="1008" y="820"/>
                  <a:pt x="1013" y="852"/>
                  <a:pt x="1008" y="869"/>
                </a:cubicBezTo>
                <a:cubicBezTo>
                  <a:pt x="996" y="912"/>
                  <a:pt x="957" y="929"/>
                  <a:pt x="936" y="967"/>
                </a:cubicBezTo>
                <a:cubicBezTo>
                  <a:pt x="919" y="998"/>
                  <a:pt x="921" y="1013"/>
                  <a:pt x="928" y="1040"/>
                </a:cubicBezTo>
                <a:cubicBezTo>
                  <a:pt x="934" y="1062"/>
                  <a:pt x="954" y="1087"/>
                  <a:pt x="963" y="1108"/>
                </a:cubicBezTo>
                <a:cubicBezTo>
                  <a:pt x="974" y="1134"/>
                  <a:pt x="985" y="1162"/>
                  <a:pt x="993" y="1190"/>
                </a:cubicBezTo>
                <a:cubicBezTo>
                  <a:pt x="1009" y="1247"/>
                  <a:pt x="1061" y="1390"/>
                  <a:pt x="1013" y="1431"/>
                </a:cubicBezTo>
                <a:cubicBezTo>
                  <a:pt x="984" y="1455"/>
                  <a:pt x="918" y="1462"/>
                  <a:pt x="883" y="1477"/>
                </a:cubicBezTo>
                <a:cubicBezTo>
                  <a:pt x="853" y="1490"/>
                  <a:pt x="825" y="1507"/>
                  <a:pt x="796" y="1522"/>
                </a:cubicBezTo>
                <a:cubicBezTo>
                  <a:pt x="763" y="1540"/>
                  <a:pt x="709" y="1577"/>
                  <a:pt x="678" y="1583"/>
                </a:cubicBezTo>
                <a:cubicBezTo>
                  <a:pt x="673" y="1580"/>
                  <a:pt x="668" y="1578"/>
                  <a:pt x="663" y="1575"/>
                </a:cubicBezTo>
                <a:cubicBezTo>
                  <a:pt x="646" y="1541"/>
                  <a:pt x="610" y="1496"/>
                  <a:pt x="601" y="1464"/>
                </a:cubicBezTo>
                <a:cubicBezTo>
                  <a:pt x="594" y="1437"/>
                  <a:pt x="601" y="1406"/>
                  <a:pt x="605" y="1379"/>
                </a:cubicBezTo>
                <a:cubicBezTo>
                  <a:pt x="609" y="1350"/>
                  <a:pt x="615" y="1322"/>
                  <a:pt x="621" y="1293"/>
                </a:cubicBezTo>
                <a:cubicBezTo>
                  <a:pt x="627" y="1270"/>
                  <a:pt x="628" y="1265"/>
                  <a:pt x="631" y="1251"/>
                </a:cubicBezTo>
                <a:cubicBezTo>
                  <a:pt x="655" y="1266"/>
                  <a:pt x="669" y="1269"/>
                  <a:pt x="690" y="1279"/>
                </a:cubicBezTo>
                <a:cubicBezTo>
                  <a:pt x="730" y="1297"/>
                  <a:pt x="717" y="1296"/>
                  <a:pt x="726" y="1333"/>
                </a:cubicBezTo>
                <a:cubicBezTo>
                  <a:pt x="732" y="1356"/>
                  <a:pt x="726" y="1383"/>
                  <a:pt x="733" y="1409"/>
                </a:cubicBezTo>
                <a:cubicBezTo>
                  <a:pt x="741" y="1438"/>
                  <a:pt x="751" y="1436"/>
                  <a:pt x="770" y="1459"/>
                </a:cubicBezTo>
              </a:path>
              <a:path w="1074" h="1584" extrusionOk="0">
                <a:moveTo>
                  <a:pt x="990" y="1510"/>
                </a:moveTo>
                <a:cubicBezTo>
                  <a:pt x="987" y="1484"/>
                  <a:pt x="983" y="1457"/>
                  <a:pt x="981" y="1431"/>
                </a:cubicBezTo>
                <a:cubicBezTo>
                  <a:pt x="978" y="1397"/>
                  <a:pt x="976" y="1358"/>
                  <a:pt x="965" y="1326"/>
                </a:cubicBezTo>
                <a:cubicBezTo>
                  <a:pt x="962" y="1320"/>
                  <a:pt x="959" y="1315"/>
                  <a:pt x="956" y="1309"/>
                </a:cubicBezTo>
              </a:path>
              <a:path w="1074" h="1584" extrusionOk="0">
                <a:moveTo>
                  <a:pt x="1073" y="1394"/>
                </a:moveTo>
                <a:lnTo>
                  <a:pt x="1073" y="1394"/>
                </a:lnTo>
              </a:path>
              <a:path w="1074" h="1584" extrusionOk="0">
                <a:moveTo>
                  <a:pt x="873" y="1451"/>
                </a:moveTo>
                <a:cubicBezTo>
                  <a:pt x="853" y="1461"/>
                  <a:pt x="838" y="1469"/>
                  <a:pt x="818" y="1477"/>
                </a:cubicBezTo>
                <a:cubicBezTo>
                  <a:pt x="812" y="1453"/>
                  <a:pt x="808" y="1429"/>
                  <a:pt x="810" y="1404"/>
                </a:cubicBezTo>
                <a:cubicBezTo>
                  <a:pt x="812" y="1382"/>
                  <a:pt x="815" y="1359"/>
                  <a:pt x="818" y="1337"/>
                </a:cubicBezTo>
                <a:cubicBezTo>
                  <a:pt x="821" y="1319"/>
                  <a:pt x="822" y="1314"/>
                  <a:pt x="815" y="1303"/>
                </a:cubicBezTo>
              </a:path>
              <a:path w="1074" h="1584" extrusionOk="0">
                <a:moveTo>
                  <a:pt x="376" y="390"/>
                </a:moveTo>
                <a:cubicBezTo>
                  <a:pt x="352" y="418"/>
                  <a:pt x="368" y="448"/>
                  <a:pt x="381" y="485"/>
                </a:cubicBezTo>
                <a:cubicBezTo>
                  <a:pt x="399" y="536"/>
                  <a:pt x="419" y="587"/>
                  <a:pt x="443" y="636"/>
                </a:cubicBezTo>
                <a:cubicBezTo>
                  <a:pt x="459" y="669"/>
                  <a:pt x="480" y="724"/>
                  <a:pt x="511" y="747"/>
                </a:cubicBezTo>
                <a:cubicBezTo>
                  <a:pt x="519" y="751"/>
                  <a:pt x="527" y="755"/>
                  <a:pt x="535" y="759"/>
                </a:cubicBezTo>
                <a:cubicBezTo>
                  <a:pt x="558" y="730"/>
                  <a:pt x="565" y="702"/>
                  <a:pt x="563" y="663"/>
                </a:cubicBezTo>
                <a:cubicBezTo>
                  <a:pt x="561" y="616"/>
                  <a:pt x="549" y="567"/>
                  <a:pt x="528" y="525"/>
                </a:cubicBezTo>
                <a:cubicBezTo>
                  <a:pt x="515" y="499"/>
                  <a:pt x="500" y="473"/>
                  <a:pt x="486" y="448"/>
                </a:cubicBezTo>
                <a:cubicBezTo>
                  <a:pt x="482" y="440"/>
                  <a:pt x="477" y="433"/>
                  <a:pt x="473" y="425"/>
                </a:cubicBezTo>
              </a:path>
              <a:path w="1074" h="1584" extrusionOk="0">
                <a:moveTo>
                  <a:pt x="773" y="410"/>
                </a:moveTo>
                <a:cubicBezTo>
                  <a:pt x="762" y="441"/>
                  <a:pt x="750" y="465"/>
                  <a:pt x="751" y="498"/>
                </a:cubicBezTo>
                <a:cubicBezTo>
                  <a:pt x="752" y="527"/>
                  <a:pt x="766" y="553"/>
                  <a:pt x="790" y="570"/>
                </a:cubicBezTo>
                <a:cubicBezTo>
                  <a:pt x="817" y="588"/>
                  <a:pt x="853" y="588"/>
                  <a:pt x="883" y="578"/>
                </a:cubicBezTo>
                <a:cubicBezTo>
                  <a:pt x="912" y="568"/>
                  <a:pt x="946" y="546"/>
                  <a:pt x="960" y="518"/>
                </a:cubicBezTo>
                <a:cubicBezTo>
                  <a:pt x="981" y="476"/>
                  <a:pt x="937" y="457"/>
                  <a:pt x="903" y="450"/>
                </a:cubicBezTo>
                <a:cubicBezTo>
                  <a:pt x="860" y="441"/>
                  <a:pt x="815" y="451"/>
                  <a:pt x="775" y="463"/>
                </a:cubicBezTo>
                <a:cubicBezTo>
                  <a:pt x="767" y="465"/>
                  <a:pt x="759" y="468"/>
                  <a:pt x="751" y="470"/>
                </a:cubicBezTo>
              </a:path>
              <a:path w="1074" h="1584" extrusionOk="0">
                <a:moveTo>
                  <a:pt x="683" y="942"/>
                </a:moveTo>
                <a:cubicBezTo>
                  <a:pt x="704" y="916"/>
                  <a:pt x="703" y="908"/>
                  <a:pt x="698" y="874"/>
                </a:cubicBezTo>
                <a:cubicBezTo>
                  <a:pt x="692" y="835"/>
                  <a:pt x="713" y="909"/>
                  <a:pt x="716" y="919"/>
                </a:cubicBezTo>
                <a:cubicBezTo>
                  <a:pt x="724" y="949"/>
                  <a:pt x="728" y="965"/>
                  <a:pt x="748" y="987"/>
                </a:cubicBezTo>
                <a:cubicBezTo>
                  <a:pt x="779" y="964"/>
                  <a:pt x="788" y="942"/>
                  <a:pt x="801" y="905"/>
                </a:cubicBezTo>
                <a:cubicBezTo>
                  <a:pt x="814" y="869"/>
                  <a:pt x="821" y="830"/>
                  <a:pt x="821" y="792"/>
                </a:cubicBezTo>
                <a:cubicBezTo>
                  <a:pt x="820" y="771"/>
                  <a:pt x="820" y="765"/>
                  <a:pt x="813" y="752"/>
                </a:cubicBezTo>
                <a:cubicBezTo>
                  <a:pt x="826" y="790"/>
                  <a:pt x="849" y="805"/>
                  <a:pt x="886" y="824"/>
                </a:cubicBezTo>
                <a:cubicBezTo>
                  <a:pt x="891" y="826"/>
                  <a:pt x="896" y="829"/>
                  <a:pt x="901" y="831"/>
                </a:cubicBezTo>
                <a:cubicBezTo>
                  <a:pt x="870" y="853"/>
                  <a:pt x="870" y="866"/>
                  <a:pt x="868" y="905"/>
                </a:cubicBezTo>
                <a:cubicBezTo>
                  <a:pt x="867" y="929"/>
                  <a:pt x="867" y="952"/>
                  <a:pt x="860" y="975"/>
                </a:cubicBezTo>
                <a:cubicBezTo>
                  <a:pt x="853" y="999"/>
                  <a:pt x="843" y="1024"/>
                  <a:pt x="825" y="1042"/>
                </a:cubicBezTo>
                <a:cubicBezTo>
                  <a:pt x="804" y="1063"/>
                  <a:pt x="770" y="1098"/>
                  <a:pt x="746" y="1062"/>
                </a:cubicBezTo>
                <a:cubicBezTo>
                  <a:pt x="731" y="1039"/>
                  <a:pt x="732" y="1004"/>
                  <a:pt x="710" y="985"/>
                </a:cubicBezTo>
                <a:cubicBezTo>
                  <a:pt x="694" y="979"/>
                  <a:pt x="690" y="976"/>
                  <a:pt x="706" y="964"/>
                </a:cubicBezTo>
              </a:path>
            </a:pathLst>
          </a:custGeom>
          <a:noFill/>
          <a:ln w="19050" cap="rnd">
            <a:solidFill>
              <a:schemeClr val="tx1"/>
            </a:solidFill>
            <a:round/>
            <a:headEnd/>
            <a:tailEnd/>
          </a:ln>
        </p:spPr>
        <p:txBody>
          <a:bodyPr>
            <a:prstTxWarp prst="textNoShape">
              <a:avLst/>
            </a:prstTxWarp>
          </a:bodyPr>
          <a:lstStyle/>
          <a:p>
            <a:endParaRPr lang="en-US"/>
          </a:p>
        </p:txBody>
      </p:sp>
      <p:sp>
        <p:nvSpPr>
          <p:cNvPr id="43014" name="Freeform 25"/>
          <p:cNvSpPr>
            <a:spLocks noRot="1" noChangeAspect="1" noEditPoints="1" noChangeArrowheads="1" noChangeShapeType="1" noTextEdit="1"/>
          </p:cNvSpPr>
          <p:nvPr>
            <p:custDataLst>
              <p:tags r:id="rId5"/>
            </p:custDataLst>
          </p:nvPr>
        </p:nvSpPr>
        <p:spPr bwMode="auto">
          <a:xfrm>
            <a:off x="3143250" y="2928938"/>
            <a:ext cx="912813" cy="355600"/>
          </a:xfrm>
          <a:custGeom>
            <a:avLst/>
            <a:gdLst>
              <a:gd name="T0" fmla="*/ 290948 w 2535"/>
              <a:gd name="T1" fmla="*/ 306141 h 985"/>
              <a:gd name="T2" fmla="*/ 324076 w 2535"/>
              <a:gd name="T3" fmla="*/ 290978 h 985"/>
              <a:gd name="T4" fmla="*/ 383489 w 2535"/>
              <a:gd name="T5" fmla="*/ 277982 h 985"/>
              <a:gd name="T6" fmla="*/ 415897 w 2535"/>
              <a:gd name="T7" fmla="*/ 268956 h 985"/>
              <a:gd name="T8" fmla="*/ 409776 w 2535"/>
              <a:gd name="T9" fmla="*/ 283758 h 985"/>
              <a:gd name="T10" fmla="*/ 415177 w 2535"/>
              <a:gd name="T11" fmla="*/ 280870 h 985"/>
              <a:gd name="T12" fmla="*/ 421298 w 2535"/>
              <a:gd name="T13" fmla="*/ 282675 h 985"/>
              <a:gd name="T14" fmla="*/ 430300 w 2535"/>
              <a:gd name="T15" fmla="*/ 327441 h 985"/>
              <a:gd name="T16" fmla="*/ 450465 w 2535"/>
              <a:gd name="T17" fmla="*/ 307224 h 985"/>
              <a:gd name="T18" fmla="*/ 486474 w 2535"/>
              <a:gd name="T19" fmla="*/ 286646 h 985"/>
              <a:gd name="T20" fmla="*/ 536165 w 2535"/>
              <a:gd name="T21" fmla="*/ 268234 h 985"/>
              <a:gd name="T22" fmla="*/ 567492 w 2535"/>
              <a:gd name="T23" fmla="*/ 264624 h 985"/>
              <a:gd name="T24" fmla="*/ 573614 w 2535"/>
              <a:gd name="T25" fmla="*/ 261014 h 985"/>
              <a:gd name="T26" fmla="*/ 554169 w 2535"/>
              <a:gd name="T27" fmla="*/ 234660 h 985"/>
              <a:gd name="T28" fmla="*/ 542287 w 2535"/>
              <a:gd name="T29" fmla="*/ 163901 h 985"/>
              <a:gd name="T30" fmla="*/ 579015 w 2535"/>
              <a:gd name="T31" fmla="*/ 141518 h 985"/>
              <a:gd name="T32" fmla="*/ 608902 w 2535"/>
              <a:gd name="T33" fmla="*/ 182313 h 985"/>
              <a:gd name="T34" fmla="*/ 610703 w 2535"/>
              <a:gd name="T35" fmla="*/ 215526 h 985"/>
              <a:gd name="T36" fmla="*/ 619705 w 2535"/>
              <a:gd name="T37" fmla="*/ 256321 h 985"/>
              <a:gd name="T38" fmla="*/ 6121 w 2535"/>
              <a:gd name="T39" fmla="*/ 349102 h 985"/>
              <a:gd name="T40" fmla="*/ 20525 w 2535"/>
              <a:gd name="T41" fmla="*/ 342603 h 985"/>
              <a:gd name="T42" fmla="*/ 93622 w 2535"/>
              <a:gd name="T43" fmla="*/ 346214 h 985"/>
              <a:gd name="T44" fmla="*/ 374847 w 2535"/>
              <a:gd name="T45" fmla="*/ 282675 h 985"/>
              <a:gd name="T46" fmla="*/ 554169 w 2535"/>
              <a:gd name="T47" fmla="*/ 258487 h 985"/>
              <a:gd name="T48" fmla="*/ 703604 w 2535"/>
              <a:gd name="T49" fmla="*/ 256321 h 985"/>
              <a:gd name="T50" fmla="*/ 781022 w 2535"/>
              <a:gd name="T51" fmla="*/ 220941 h 985"/>
              <a:gd name="T52" fmla="*/ 760858 w 2535"/>
              <a:gd name="T53" fmla="*/ 220941 h 985"/>
              <a:gd name="T54" fmla="*/ 621505 w 2535"/>
              <a:gd name="T55" fmla="*/ 177619 h 985"/>
              <a:gd name="T56" fmla="*/ 654633 w 2535"/>
              <a:gd name="T57" fmla="*/ 164262 h 985"/>
              <a:gd name="T58" fmla="*/ 689921 w 2535"/>
              <a:gd name="T59" fmla="*/ 142240 h 985"/>
              <a:gd name="T60" fmla="*/ 712606 w 2535"/>
              <a:gd name="T61" fmla="*/ 127077 h 985"/>
              <a:gd name="T62" fmla="*/ 617184 w 2535"/>
              <a:gd name="T63" fmla="*/ 242963 h 985"/>
              <a:gd name="T64" fmla="*/ 611423 w 2535"/>
              <a:gd name="T65" fmla="*/ 249462 h 985"/>
              <a:gd name="T66" fmla="*/ 634108 w 2535"/>
              <a:gd name="T67" fmla="*/ 224912 h 985"/>
              <a:gd name="T68" fmla="*/ 669036 w 2535"/>
              <a:gd name="T69" fmla="*/ 212999 h 985"/>
              <a:gd name="T70" fmla="*/ 715127 w 2535"/>
              <a:gd name="T71" fmla="*/ 193865 h 985"/>
              <a:gd name="T72" fmla="*/ 748615 w 2535"/>
              <a:gd name="T73" fmla="*/ 173287 h 985"/>
              <a:gd name="T74" fmla="*/ 754736 w 2535"/>
              <a:gd name="T75" fmla="*/ 173287 h 985"/>
              <a:gd name="T76" fmla="*/ 744654 w 2535"/>
              <a:gd name="T77" fmla="*/ 30686 h 985"/>
              <a:gd name="T78" fmla="*/ 772740 w 2535"/>
              <a:gd name="T79" fmla="*/ 13358 h 985"/>
              <a:gd name="T80" fmla="*/ 807668 w 2535"/>
              <a:gd name="T81" fmla="*/ 722 h 985"/>
              <a:gd name="T82" fmla="*/ 831434 w 2535"/>
              <a:gd name="T83" fmla="*/ 12636 h 985"/>
              <a:gd name="T84" fmla="*/ 815950 w 2535"/>
              <a:gd name="T85" fmla="*/ 35379 h 985"/>
              <a:gd name="T86" fmla="*/ 770940 w 2535"/>
              <a:gd name="T87" fmla="*/ 88088 h 985"/>
              <a:gd name="T88" fmla="*/ 806948 w 2535"/>
              <a:gd name="T89" fmla="*/ 86283 h 985"/>
              <a:gd name="T90" fmla="*/ 836475 w 2535"/>
              <a:gd name="T91" fmla="*/ 83395 h 985"/>
              <a:gd name="T92" fmla="*/ 826033 w 2535"/>
              <a:gd name="T93" fmla="*/ 93142 h 985"/>
              <a:gd name="T94" fmla="*/ 790745 w 2535"/>
              <a:gd name="T95" fmla="*/ 124189 h 985"/>
              <a:gd name="T96" fmla="*/ 796866 w 2535"/>
              <a:gd name="T97" fmla="*/ 124189 h 985"/>
              <a:gd name="T98" fmla="*/ 838276 w 2535"/>
              <a:gd name="T99" fmla="*/ 123467 h 985"/>
              <a:gd name="T100" fmla="*/ 827473 w 2535"/>
              <a:gd name="T101" fmla="*/ 153070 h 985"/>
              <a:gd name="T102" fmla="*/ 831074 w 2535"/>
              <a:gd name="T103" fmla="*/ 181230 h 985"/>
              <a:gd name="T104" fmla="*/ 902731 w 2535"/>
              <a:gd name="T105" fmla="*/ 170399 h 985"/>
              <a:gd name="T106" fmla="*/ 912453 w 2535"/>
              <a:gd name="T107" fmla="*/ 183035 h 98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535"/>
              <a:gd name="T163" fmla="*/ 0 h 985"/>
              <a:gd name="T164" fmla="*/ 2535 w 2535"/>
              <a:gd name="T165" fmla="*/ 985 h 98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535" h="985" extrusionOk="0">
                <a:moveTo>
                  <a:pt x="808" y="848"/>
                </a:moveTo>
                <a:cubicBezTo>
                  <a:pt x="840" y="827"/>
                  <a:pt x="862" y="811"/>
                  <a:pt x="900" y="806"/>
                </a:cubicBezTo>
                <a:cubicBezTo>
                  <a:pt x="957" y="798"/>
                  <a:pt x="1010" y="790"/>
                  <a:pt x="1065" y="770"/>
                </a:cubicBezTo>
                <a:cubicBezTo>
                  <a:pt x="1084" y="763"/>
                  <a:pt x="1134" y="739"/>
                  <a:pt x="1155" y="745"/>
                </a:cubicBezTo>
                <a:cubicBezTo>
                  <a:pt x="1214" y="762"/>
                  <a:pt x="1145" y="767"/>
                  <a:pt x="1138" y="786"/>
                </a:cubicBezTo>
                <a:cubicBezTo>
                  <a:pt x="1143" y="783"/>
                  <a:pt x="1148" y="781"/>
                  <a:pt x="1153" y="778"/>
                </a:cubicBezTo>
                <a:cubicBezTo>
                  <a:pt x="1159" y="780"/>
                  <a:pt x="1164" y="781"/>
                  <a:pt x="1170" y="783"/>
                </a:cubicBezTo>
                <a:cubicBezTo>
                  <a:pt x="1181" y="824"/>
                  <a:pt x="1184" y="866"/>
                  <a:pt x="1195" y="907"/>
                </a:cubicBezTo>
                <a:cubicBezTo>
                  <a:pt x="1220" y="891"/>
                  <a:pt x="1229" y="882"/>
                  <a:pt x="1251" y="851"/>
                </a:cubicBezTo>
                <a:cubicBezTo>
                  <a:pt x="1272" y="822"/>
                  <a:pt x="1320" y="810"/>
                  <a:pt x="1351" y="794"/>
                </a:cubicBezTo>
                <a:cubicBezTo>
                  <a:pt x="1394" y="772"/>
                  <a:pt x="1440" y="749"/>
                  <a:pt x="1489" y="743"/>
                </a:cubicBezTo>
                <a:cubicBezTo>
                  <a:pt x="1518" y="739"/>
                  <a:pt x="1548" y="744"/>
                  <a:pt x="1576" y="733"/>
                </a:cubicBezTo>
                <a:cubicBezTo>
                  <a:pt x="1582" y="730"/>
                  <a:pt x="1587" y="726"/>
                  <a:pt x="1593" y="723"/>
                </a:cubicBezTo>
                <a:cubicBezTo>
                  <a:pt x="1579" y="705"/>
                  <a:pt x="1554" y="676"/>
                  <a:pt x="1539" y="650"/>
                </a:cubicBezTo>
                <a:cubicBezTo>
                  <a:pt x="1508" y="596"/>
                  <a:pt x="1481" y="516"/>
                  <a:pt x="1506" y="454"/>
                </a:cubicBezTo>
                <a:cubicBezTo>
                  <a:pt x="1519" y="422"/>
                  <a:pt x="1577" y="378"/>
                  <a:pt x="1608" y="392"/>
                </a:cubicBezTo>
                <a:cubicBezTo>
                  <a:pt x="1629" y="401"/>
                  <a:pt x="1685" y="481"/>
                  <a:pt x="1691" y="505"/>
                </a:cubicBezTo>
                <a:cubicBezTo>
                  <a:pt x="1699" y="534"/>
                  <a:pt x="1696" y="568"/>
                  <a:pt x="1696" y="597"/>
                </a:cubicBezTo>
                <a:cubicBezTo>
                  <a:pt x="1696" y="646"/>
                  <a:pt x="1702" y="669"/>
                  <a:pt x="1721" y="710"/>
                </a:cubicBezTo>
              </a:path>
              <a:path w="2535" h="985" extrusionOk="0">
                <a:moveTo>
                  <a:pt x="17" y="967"/>
                </a:moveTo>
                <a:cubicBezTo>
                  <a:pt x="41" y="946"/>
                  <a:pt x="25" y="952"/>
                  <a:pt x="57" y="949"/>
                </a:cubicBezTo>
                <a:cubicBezTo>
                  <a:pt x="124" y="944"/>
                  <a:pt x="193" y="959"/>
                  <a:pt x="260" y="959"/>
                </a:cubicBezTo>
                <a:cubicBezTo>
                  <a:pt x="525" y="957"/>
                  <a:pt x="789" y="853"/>
                  <a:pt x="1041" y="783"/>
                </a:cubicBezTo>
                <a:cubicBezTo>
                  <a:pt x="1208" y="737"/>
                  <a:pt x="1366" y="705"/>
                  <a:pt x="1539" y="716"/>
                </a:cubicBezTo>
                <a:cubicBezTo>
                  <a:pt x="1684" y="725"/>
                  <a:pt x="1812" y="752"/>
                  <a:pt x="1954" y="710"/>
                </a:cubicBezTo>
                <a:cubicBezTo>
                  <a:pt x="2031" y="687"/>
                  <a:pt x="2099" y="651"/>
                  <a:pt x="2169" y="612"/>
                </a:cubicBezTo>
                <a:cubicBezTo>
                  <a:pt x="2115" y="628"/>
                  <a:pt x="2151" y="619"/>
                  <a:pt x="2113" y="612"/>
                </a:cubicBezTo>
              </a:path>
              <a:path w="2535" h="985" extrusionOk="0">
                <a:moveTo>
                  <a:pt x="1726" y="492"/>
                </a:moveTo>
                <a:cubicBezTo>
                  <a:pt x="1760" y="488"/>
                  <a:pt x="1787" y="473"/>
                  <a:pt x="1818" y="455"/>
                </a:cubicBezTo>
                <a:cubicBezTo>
                  <a:pt x="1851" y="435"/>
                  <a:pt x="1883" y="415"/>
                  <a:pt x="1916" y="394"/>
                </a:cubicBezTo>
                <a:cubicBezTo>
                  <a:pt x="1937" y="380"/>
                  <a:pt x="1958" y="366"/>
                  <a:pt x="1979" y="352"/>
                </a:cubicBezTo>
              </a:path>
              <a:path w="2535" h="985" extrusionOk="0">
                <a:moveTo>
                  <a:pt x="1714" y="673"/>
                </a:moveTo>
                <a:cubicBezTo>
                  <a:pt x="1709" y="679"/>
                  <a:pt x="1703" y="685"/>
                  <a:pt x="1698" y="691"/>
                </a:cubicBezTo>
                <a:cubicBezTo>
                  <a:pt x="1712" y="661"/>
                  <a:pt x="1729" y="638"/>
                  <a:pt x="1761" y="623"/>
                </a:cubicBezTo>
                <a:cubicBezTo>
                  <a:pt x="1792" y="609"/>
                  <a:pt x="1826" y="600"/>
                  <a:pt x="1858" y="590"/>
                </a:cubicBezTo>
                <a:cubicBezTo>
                  <a:pt x="1901" y="576"/>
                  <a:pt x="1946" y="558"/>
                  <a:pt x="1986" y="537"/>
                </a:cubicBezTo>
                <a:cubicBezTo>
                  <a:pt x="2015" y="522"/>
                  <a:pt x="2049" y="490"/>
                  <a:pt x="2079" y="480"/>
                </a:cubicBezTo>
                <a:cubicBezTo>
                  <a:pt x="2085" y="480"/>
                  <a:pt x="2090" y="480"/>
                  <a:pt x="2096" y="480"/>
                </a:cubicBezTo>
              </a:path>
              <a:path w="2535" h="985" extrusionOk="0">
                <a:moveTo>
                  <a:pt x="2068" y="85"/>
                </a:moveTo>
                <a:cubicBezTo>
                  <a:pt x="2091" y="67"/>
                  <a:pt x="2120" y="48"/>
                  <a:pt x="2146" y="37"/>
                </a:cubicBezTo>
                <a:cubicBezTo>
                  <a:pt x="2176" y="25"/>
                  <a:pt x="2211" y="9"/>
                  <a:pt x="2243" y="2"/>
                </a:cubicBezTo>
                <a:cubicBezTo>
                  <a:pt x="2273" y="-5"/>
                  <a:pt x="2315" y="-6"/>
                  <a:pt x="2309" y="35"/>
                </a:cubicBezTo>
                <a:cubicBezTo>
                  <a:pt x="2306" y="56"/>
                  <a:pt x="2278" y="82"/>
                  <a:pt x="2266" y="98"/>
                </a:cubicBezTo>
              </a:path>
              <a:path w="2535" h="985" extrusionOk="0">
                <a:moveTo>
                  <a:pt x="2141" y="244"/>
                </a:moveTo>
                <a:cubicBezTo>
                  <a:pt x="2176" y="246"/>
                  <a:pt x="2207" y="242"/>
                  <a:pt x="2241" y="239"/>
                </a:cubicBezTo>
                <a:cubicBezTo>
                  <a:pt x="2246" y="239"/>
                  <a:pt x="2323" y="229"/>
                  <a:pt x="2323" y="231"/>
                </a:cubicBezTo>
                <a:cubicBezTo>
                  <a:pt x="2311" y="250"/>
                  <a:pt x="2309" y="256"/>
                  <a:pt x="2294" y="258"/>
                </a:cubicBezTo>
              </a:path>
              <a:path w="2535" h="985" extrusionOk="0">
                <a:moveTo>
                  <a:pt x="2196" y="344"/>
                </a:moveTo>
                <a:cubicBezTo>
                  <a:pt x="2202" y="344"/>
                  <a:pt x="2207" y="344"/>
                  <a:pt x="2213" y="344"/>
                </a:cubicBezTo>
              </a:path>
              <a:path w="2535" h="985" extrusionOk="0">
                <a:moveTo>
                  <a:pt x="2328" y="342"/>
                </a:moveTo>
                <a:cubicBezTo>
                  <a:pt x="2325" y="377"/>
                  <a:pt x="2308" y="393"/>
                  <a:pt x="2298" y="424"/>
                </a:cubicBezTo>
                <a:cubicBezTo>
                  <a:pt x="2291" y="447"/>
                  <a:pt x="2302" y="480"/>
                  <a:pt x="2308" y="502"/>
                </a:cubicBezTo>
              </a:path>
              <a:path w="2535" h="985" extrusionOk="0">
                <a:moveTo>
                  <a:pt x="2507" y="472"/>
                </a:moveTo>
                <a:cubicBezTo>
                  <a:pt x="2524" y="488"/>
                  <a:pt x="2529" y="492"/>
                  <a:pt x="2534" y="507"/>
                </a:cubicBezTo>
              </a:path>
            </a:pathLst>
          </a:custGeom>
          <a:noFill/>
          <a:ln w="19050" cap="rnd">
            <a:solidFill>
              <a:schemeClr val="tx1"/>
            </a:solidFill>
            <a:round/>
            <a:headEnd/>
            <a:tailEnd/>
          </a:ln>
        </p:spPr>
        <p:txBody>
          <a:bodyPr>
            <a:prstTxWarp prst="textNoShape">
              <a:avLst/>
            </a:prstTxWarp>
          </a:bodyPr>
          <a:lstStyle/>
          <a:p>
            <a:endParaRPr lang="en-US"/>
          </a:p>
        </p:txBody>
      </p:sp>
      <p:grpSp>
        <p:nvGrpSpPr>
          <p:cNvPr id="2" name="Group 31"/>
          <p:cNvGrpSpPr>
            <a:grpSpLocks/>
          </p:cNvGrpSpPr>
          <p:nvPr/>
        </p:nvGrpSpPr>
        <p:grpSpPr bwMode="auto">
          <a:xfrm>
            <a:off x="4595813" y="2030413"/>
            <a:ext cx="1355725" cy="1087437"/>
            <a:chOff x="1238" y="1093"/>
            <a:chExt cx="1709" cy="1371"/>
          </a:xfrm>
          <a:solidFill>
            <a:schemeClr val="bg1"/>
          </a:solidFill>
        </p:grpSpPr>
        <p:sp>
          <p:nvSpPr>
            <p:cNvPr id="10" name="AutoShape 26"/>
            <p:cNvSpPr>
              <a:spLocks noChangeArrowheads="1"/>
            </p:cNvSpPr>
            <p:nvPr/>
          </p:nvSpPr>
          <p:spPr bwMode="auto">
            <a:xfrm rot="16200000">
              <a:off x="1407" y="924"/>
              <a:ext cx="1371" cy="1709"/>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grpFill/>
            <a:ln w="9525">
              <a:solidFill>
                <a:schemeClr val="tx1"/>
              </a:solidFill>
              <a:miter lim="800000"/>
              <a:headEnd/>
              <a:tailEnd/>
            </a:ln>
            <a:effectLst/>
          </p:spPr>
          <p:txBody>
            <a:bodyPr vert="eaVert" wrap="none" anchor="ctr">
              <a:prstTxWarp prst="textNoShape">
                <a:avLst/>
              </a:prstTxWarp>
            </a:bodyPr>
            <a:lstStyle/>
            <a:p>
              <a:pPr algn="ctr">
                <a:defRPr/>
              </a:pPr>
              <a:endParaRPr lang="en-US">
                <a:latin typeface="Arial" charset="0"/>
                <a:ea typeface="ＭＳ Ｐゴシック" charset="-128"/>
                <a:cs typeface="ＭＳ Ｐゴシック" charset="-128"/>
              </a:endParaRPr>
            </a:p>
          </p:txBody>
        </p:sp>
        <p:sp>
          <p:nvSpPr>
            <p:cNvPr id="11" name="Freeform 27"/>
            <p:cNvSpPr>
              <a:spLocks noRot="1" noChangeAspect="1" noEditPoints="1" noChangeArrowheads="1" noChangeShapeType="1" noTextEdit="1"/>
            </p:cNvSpPr>
            <p:nvPr/>
          </p:nvSpPr>
          <p:spPr bwMode="auto">
            <a:xfrm>
              <a:off x="1270" y="1163"/>
              <a:ext cx="1651" cy="1063"/>
            </a:xfrm>
            <a:custGeom>
              <a:avLst/>
              <a:gdLst/>
              <a:ahLst/>
              <a:cxnLst>
                <a:cxn ang="0">
                  <a:pos x="1830" y="1773"/>
                </a:cxn>
                <a:cxn ang="0">
                  <a:pos x="655" y="3227"/>
                </a:cxn>
                <a:cxn ang="0">
                  <a:pos x="360" y="1971"/>
                </a:cxn>
                <a:cxn ang="0">
                  <a:pos x="3009" y="1572"/>
                </a:cxn>
                <a:cxn ang="0">
                  <a:pos x="3121" y="1444"/>
                </a:cxn>
                <a:cxn ang="0">
                  <a:pos x="3183" y="2077"/>
                </a:cxn>
                <a:cxn ang="0">
                  <a:pos x="1315" y="2212"/>
                </a:cxn>
                <a:cxn ang="0">
                  <a:pos x="5882" y="3133"/>
                </a:cxn>
                <a:cxn ang="0">
                  <a:pos x="5879" y="3811"/>
                </a:cxn>
                <a:cxn ang="0">
                  <a:pos x="6205" y="3864"/>
                </a:cxn>
                <a:cxn ang="0">
                  <a:pos x="4404" y="1569"/>
                </a:cxn>
                <a:cxn ang="0">
                  <a:pos x="4884" y="1908"/>
                </a:cxn>
                <a:cxn ang="0">
                  <a:pos x="6298" y="1504"/>
                </a:cxn>
                <a:cxn ang="0">
                  <a:pos x="6073" y="1982"/>
                </a:cxn>
                <a:cxn ang="0">
                  <a:pos x="2895" y="3804"/>
                </a:cxn>
                <a:cxn ang="0">
                  <a:pos x="3311" y="4057"/>
                </a:cxn>
                <a:cxn ang="0">
                  <a:pos x="2998" y="4633"/>
                </a:cxn>
                <a:cxn ang="0">
                  <a:pos x="1328" y="309"/>
                </a:cxn>
                <a:cxn ang="0">
                  <a:pos x="4049" y="3533"/>
                </a:cxn>
                <a:cxn ang="0">
                  <a:pos x="2668" y="2955"/>
                </a:cxn>
                <a:cxn ang="0">
                  <a:pos x="2580" y="2316"/>
                </a:cxn>
                <a:cxn ang="0">
                  <a:pos x="3091" y="3138"/>
                </a:cxn>
                <a:cxn ang="0">
                  <a:pos x="2756" y="3246"/>
                </a:cxn>
                <a:cxn ang="0">
                  <a:pos x="2998" y="3344"/>
                </a:cxn>
                <a:cxn ang="0">
                  <a:pos x="2845" y="2652"/>
                </a:cxn>
                <a:cxn ang="0">
                  <a:pos x="6283" y="3360"/>
                </a:cxn>
                <a:cxn ang="0">
                  <a:pos x="6693" y="3430"/>
                </a:cxn>
                <a:cxn ang="0">
                  <a:pos x="6713" y="4015"/>
                </a:cxn>
                <a:cxn ang="0">
                  <a:pos x="7038" y="3355"/>
                </a:cxn>
                <a:cxn ang="0">
                  <a:pos x="7011" y="1441"/>
                </a:cxn>
                <a:cxn ang="0">
                  <a:pos x="6878" y="1778"/>
                </a:cxn>
                <a:cxn ang="0">
                  <a:pos x="7050" y="1743"/>
                </a:cxn>
                <a:cxn ang="0">
                  <a:pos x="7138" y="2051"/>
                </a:cxn>
                <a:cxn ang="0">
                  <a:pos x="5567" y="1745"/>
                </a:cxn>
                <a:cxn ang="0">
                  <a:pos x="5305" y="1836"/>
                </a:cxn>
                <a:cxn ang="0">
                  <a:pos x="5422" y="2232"/>
                </a:cxn>
                <a:cxn ang="0">
                  <a:pos x="3981" y="1643"/>
                </a:cxn>
                <a:cxn ang="0">
                  <a:pos x="4116" y="1869"/>
                </a:cxn>
                <a:cxn ang="0">
                  <a:pos x="3689" y="1869"/>
                </a:cxn>
                <a:cxn ang="0">
                  <a:pos x="5367" y="2604"/>
                </a:cxn>
                <a:cxn ang="0">
                  <a:pos x="5404" y="3315"/>
                </a:cxn>
                <a:cxn ang="0">
                  <a:pos x="5135" y="3264"/>
                </a:cxn>
                <a:cxn ang="0">
                  <a:pos x="1936" y="3189"/>
                </a:cxn>
                <a:cxn ang="0">
                  <a:pos x="2690" y="2945"/>
                </a:cxn>
                <a:cxn ang="0">
                  <a:pos x="872" y="2950"/>
                </a:cxn>
                <a:cxn ang="0">
                  <a:pos x="770" y="3131"/>
                </a:cxn>
                <a:cxn ang="0">
                  <a:pos x="1860" y="3141"/>
                </a:cxn>
                <a:cxn ang="0">
                  <a:pos x="1773" y="3212"/>
                </a:cxn>
                <a:cxn ang="0">
                  <a:pos x="2395" y="2772"/>
                </a:cxn>
                <a:cxn ang="0">
                  <a:pos x="2241" y="2835"/>
                </a:cxn>
                <a:cxn ang="0">
                  <a:pos x="2225" y="1642"/>
                </a:cxn>
                <a:cxn ang="0">
                  <a:pos x="2016" y="2714"/>
                </a:cxn>
                <a:cxn ang="0">
                  <a:pos x="2078" y="1933"/>
                </a:cxn>
                <a:cxn ang="0">
                  <a:pos x="1065" y="2777"/>
                </a:cxn>
                <a:cxn ang="0">
                  <a:pos x="2210" y="440"/>
                </a:cxn>
                <a:cxn ang="0">
                  <a:pos x="2246" y="787"/>
                </a:cxn>
                <a:cxn ang="0">
                  <a:pos x="3719" y="997"/>
                </a:cxn>
                <a:cxn ang="0">
                  <a:pos x="3886" y="1215"/>
                </a:cxn>
                <a:cxn ang="0">
                  <a:pos x="3898" y="4143"/>
                </a:cxn>
              </a:cxnLst>
              <a:rect l="0" t="0" r="r" b="b"/>
              <a:pathLst>
                <a:path w="7282" h="4686" extrusionOk="0">
                  <a:moveTo>
                    <a:pt x="862" y="1361"/>
                  </a:moveTo>
                  <a:cubicBezTo>
                    <a:pt x="855" y="1331"/>
                    <a:pt x="821" y="1335"/>
                    <a:pt x="825" y="1304"/>
                  </a:cubicBezTo>
                  <a:cubicBezTo>
                    <a:pt x="846" y="1148"/>
                    <a:pt x="980" y="933"/>
                    <a:pt x="1093" y="831"/>
                  </a:cubicBezTo>
                  <a:cubicBezTo>
                    <a:pt x="1173" y="759"/>
                    <a:pt x="1289" y="667"/>
                    <a:pt x="1375" y="786"/>
                  </a:cubicBezTo>
                  <a:cubicBezTo>
                    <a:pt x="1456" y="898"/>
                    <a:pt x="1450" y="1128"/>
                    <a:pt x="1408" y="1254"/>
                  </a:cubicBezTo>
                  <a:cubicBezTo>
                    <a:pt x="1399" y="1282"/>
                    <a:pt x="1387" y="1277"/>
                    <a:pt x="1375" y="1304"/>
                  </a:cubicBezTo>
                  <a:cubicBezTo>
                    <a:pt x="1411" y="1236"/>
                    <a:pt x="1385" y="1211"/>
                    <a:pt x="1477" y="1186"/>
                  </a:cubicBezTo>
                  <a:cubicBezTo>
                    <a:pt x="1607" y="1151"/>
                    <a:pt x="1836" y="1231"/>
                    <a:pt x="1911" y="1341"/>
                  </a:cubicBezTo>
                  <a:cubicBezTo>
                    <a:pt x="2016" y="1495"/>
                    <a:pt x="1930" y="1656"/>
                    <a:pt x="1830" y="1773"/>
                  </a:cubicBezTo>
                  <a:cubicBezTo>
                    <a:pt x="1886" y="1714"/>
                    <a:pt x="1915" y="1662"/>
                    <a:pt x="2000" y="1623"/>
                  </a:cubicBezTo>
                  <a:cubicBezTo>
                    <a:pt x="2139" y="1559"/>
                    <a:pt x="2316" y="1540"/>
                    <a:pt x="2403" y="1693"/>
                  </a:cubicBezTo>
                  <a:cubicBezTo>
                    <a:pt x="2563" y="1973"/>
                    <a:pt x="2342" y="2339"/>
                    <a:pt x="2145" y="2531"/>
                  </a:cubicBezTo>
                  <a:cubicBezTo>
                    <a:pt x="2055" y="2619"/>
                    <a:pt x="1958" y="2700"/>
                    <a:pt x="1863" y="2782"/>
                  </a:cubicBezTo>
                  <a:cubicBezTo>
                    <a:pt x="1903" y="2769"/>
                    <a:pt x="1957" y="2743"/>
                    <a:pt x="2001" y="2735"/>
                  </a:cubicBezTo>
                  <a:cubicBezTo>
                    <a:pt x="2056" y="2725"/>
                    <a:pt x="2127" y="2714"/>
                    <a:pt x="2171" y="2760"/>
                  </a:cubicBezTo>
                  <a:cubicBezTo>
                    <a:pt x="2265" y="2860"/>
                    <a:pt x="2138" y="3007"/>
                    <a:pt x="2066" y="3069"/>
                  </a:cubicBezTo>
                  <a:cubicBezTo>
                    <a:pt x="1858" y="3247"/>
                    <a:pt x="1450" y="3246"/>
                    <a:pt x="1197" y="3265"/>
                  </a:cubicBezTo>
                  <a:cubicBezTo>
                    <a:pt x="1050" y="3276"/>
                    <a:pt x="787" y="3322"/>
                    <a:pt x="655" y="3227"/>
                  </a:cubicBezTo>
                  <a:cubicBezTo>
                    <a:pt x="572" y="3167"/>
                    <a:pt x="640" y="3089"/>
                    <a:pt x="677" y="3028"/>
                  </a:cubicBezTo>
                  <a:cubicBezTo>
                    <a:pt x="736" y="2931"/>
                    <a:pt x="877" y="2850"/>
                    <a:pt x="987" y="2852"/>
                  </a:cubicBezTo>
                  <a:cubicBezTo>
                    <a:pt x="992" y="2858"/>
                    <a:pt x="998" y="2864"/>
                    <a:pt x="1003" y="2870"/>
                  </a:cubicBezTo>
                  <a:cubicBezTo>
                    <a:pt x="954" y="2955"/>
                    <a:pt x="943" y="3034"/>
                    <a:pt x="815" y="3051"/>
                  </a:cubicBezTo>
                  <a:cubicBezTo>
                    <a:pt x="606" y="3079"/>
                    <a:pt x="447" y="2895"/>
                    <a:pt x="335" y="2745"/>
                  </a:cubicBezTo>
                  <a:cubicBezTo>
                    <a:pt x="163" y="2514"/>
                    <a:pt x="24" y="2191"/>
                    <a:pt x="164" y="1913"/>
                  </a:cubicBezTo>
                  <a:cubicBezTo>
                    <a:pt x="226" y="1790"/>
                    <a:pt x="311" y="1708"/>
                    <a:pt x="414" y="1628"/>
                  </a:cubicBezTo>
                  <a:cubicBezTo>
                    <a:pt x="420" y="1674"/>
                    <a:pt x="437" y="1698"/>
                    <a:pt x="425" y="1763"/>
                  </a:cubicBezTo>
                  <a:cubicBezTo>
                    <a:pt x="412" y="1836"/>
                    <a:pt x="384" y="1902"/>
                    <a:pt x="360" y="1971"/>
                  </a:cubicBezTo>
                  <a:cubicBezTo>
                    <a:pt x="371" y="1863"/>
                    <a:pt x="385" y="1755"/>
                    <a:pt x="400" y="1647"/>
                  </a:cubicBezTo>
                  <a:cubicBezTo>
                    <a:pt x="418" y="1523"/>
                    <a:pt x="438" y="1401"/>
                    <a:pt x="469" y="1283"/>
                  </a:cubicBezTo>
                  <a:cubicBezTo>
                    <a:pt x="513" y="1294"/>
                    <a:pt x="562" y="1303"/>
                    <a:pt x="609" y="1319"/>
                  </a:cubicBezTo>
                  <a:cubicBezTo>
                    <a:pt x="675" y="1342"/>
                    <a:pt x="739" y="1368"/>
                    <a:pt x="804" y="1394"/>
                  </a:cubicBezTo>
                </a:path>
                <a:path w="7282" h="4686" extrusionOk="0">
                  <a:moveTo>
                    <a:pt x="2766" y="885"/>
                  </a:moveTo>
                  <a:cubicBezTo>
                    <a:pt x="2785" y="914"/>
                    <a:pt x="2791" y="945"/>
                    <a:pt x="2800" y="979"/>
                  </a:cubicBezTo>
                  <a:cubicBezTo>
                    <a:pt x="2813" y="1026"/>
                    <a:pt x="2837" y="1071"/>
                    <a:pt x="2855" y="1117"/>
                  </a:cubicBezTo>
                  <a:cubicBezTo>
                    <a:pt x="2884" y="1190"/>
                    <a:pt x="2910" y="1264"/>
                    <a:pt x="2934" y="1339"/>
                  </a:cubicBezTo>
                  <a:cubicBezTo>
                    <a:pt x="2959" y="1416"/>
                    <a:pt x="2978" y="1498"/>
                    <a:pt x="3009" y="1572"/>
                  </a:cubicBezTo>
                  <a:cubicBezTo>
                    <a:pt x="3014" y="1585"/>
                    <a:pt x="3049" y="1672"/>
                    <a:pt x="3079" y="1662"/>
                  </a:cubicBezTo>
                  <a:cubicBezTo>
                    <a:pt x="3086" y="1651"/>
                    <a:pt x="3094" y="1639"/>
                    <a:pt x="3101" y="1628"/>
                  </a:cubicBezTo>
                </a:path>
                <a:path w="7282" h="4686" extrusionOk="0">
                  <a:moveTo>
                    <a:pt x="2865" y="944"/>
                  </a:moveTo>
                  <a:cubicBezTo>
                    <a:pt x="2900" y="902"/>
                    <a:pt x="2929" y="880"/>
                    <a:pt x="2973" y="851"/>
                  </a:cubicBezTo>
                  <a:cubicBezTo>
                    <a:pt x="3006" y="829"/>
                    <a:pt x="3040" y="816"/>
                    <a:pt x="3079" y="834"/>
                  </a:cubicBezTo>
                  <a:cubicBezTo>
                    <a:pt x="3117" y="851"/>
                    <a:pt x="3126" y="898"/>
                    <a:pt x="3133" y="934"/>
                  </a:cubicBezTo>
                  <a:cubicBezTo>
                    <a:pt x="3143" y="985"/>
                    <a:pt x="3141" y="1040"/>
                    <a:pt x="3141" y="1092"/>
                  </a:cubicBezTo>
                  <a:cubicBezTo>
                    <a:pt x="3141" y="1165"/>
                    <a:pt x="3136" y="1236"/>
                    <a:pt x="3133" y="1309"/>
                  </a:cubicBezTo>
                  <a:cubicBezTo>
                    <a:pt x="3131" y="1355"/>
                    <a:pt x="3121" y="1397"/>
                    <a:pt x="3121" y="1444"/>
                  </a:cubicBezTo>
                  <a:cubicBezTo>
                    <a:pt x="3123" y="1473"/>
                    <a:pt x="3124" y="1483"/>
                    <a:pt x="3124" y="1502"/>
                  </a:cubicBezTo>
                </a:path>
                <a:path w="7282" h="4686" extrusionOk="0">
                  <a:moveTo>
                    <a:pt x="3188" y="2107"/>
                  </a:moveTo>
                  <a:cubicBezTo>
                    <a:pt x="3175" y="2161"/>
                    <a:pt x="3157" y="2211"/>
                    <a:pt x="3153" y="2265"/>
                  </a:cubicBezTo>
                  <a:cubicBezTo>
                    <a:pt x="3150" y="2300"/>
                    <a:pt x="3159" y="2337"/>
                    <a:pt x="3204" y="2328"/>
                  </a:cubicBezTo>
                  <a:cubicBezTo>
                    <a:pt x="3268" y="2316"/>
                    <a:pt x="3324" y="2251"/>
                    <a:pt x="3361" y="2203"/>
                  </a:cubicBezTo>
                  <a:cubicBezTo>
                    <a:pt x="3400" y="2153"/>
                    <a:pt x="3425" y="2113"/>
                    <a:pt x="3418" y="2052"/>
                  </a:cubicBezTo>
                  <a:cubicBezTo>
                    <a:pt x="3364" y="2040"/>
                    <a:pt x="3316" y="2055"/>
                    <a:pt x="3266" y="2085"/>
                  </a:cubicBezTo>
                  <a:cubicBezTo>
                    <a:pt x="3231" y="2106"/>
                    <a:pt x="3158" y="2156"/>
                    <a:pt x="3166" y="2115"/>
                  </a:cubicBezTo>
                  <a:cubicBezTo>
                    <a:pt x="3172" y="2102"/>
                    <a:pt x="3177" y="2090"/>
                    <a:pt x="3183" y="2077"/>
                  </a:cubicBezTo>
                </a:path>
                <a:path w="7282" h="4686" extrusionOk="0">
                  <a:moveTo>
                    <a:pt x="918" y="1901"/>
                  </a:moveTo>
                  <a:cubicBezTo>
                    <a:pt x="950" y="1919"/>
                    <a:pt x="985" y="1916"/>
                    <a:pt x="1023" y="1919"/>
                  </a:cubicBezTo>
                  <a:cubicBezTo>
                    <a:pt x="1093" y="1924"/>
                    <a:pt x="1162" y="1927"/>
                    <a:pt x="1232" y="1934"/>
                  </a:cubicBezTo>
                  <a:cubicBezTo>
                    <a:pt x="1303" y="1941"/>
                    <a:pt x="1373" y="1951"/>
                    <a:pt x="1443" y="1962"/>
                  </a:cubicBezTo>
                  <a:cubicBezTo>
                    <a:pt x="1481" y="1968"/>
                    <a:pt x="1517" y="1975"/>
                    <a:pt x="1555" y="1984"/>
                  </a:cubicBezTo>
                </a:path>
                <a:path w="7282" h="4686" extrusionOk="0">
                  <a:moveTo>
                    <a:pt x="1052" y="2179"/>
                  </a:moveTo>
                  <a:cubicBezTo>
                    <a:pt x="1039" y="2194"/>
                    <a:pt x="1034" y="2199"/>
                    <a:pt x="1045" y="2212"/>
                  </a:cubicBezTo>
                  <a:cubicBezTo>
                    <a:pt x="1074" y="2214"/>
                    <a:pt x="1102" y="2214"/>
                    <a:pt x="1132" y="2213"/>
                  </a:cubicBezTo>
                  <a:cubicBezTo>
                    <a:pt x="1193" y="2211"/>
                    <a:pt x="1254" y="2212"/>
                    <a:pt x="1315" y="2212"/>
                  </a:cubicBezTo>
                  <a:cubicBezTo>
                    <a:pt x="1368" y="2212"/>
                    <a:pt x="1421" y="2215"/>
                    <a:pt x="1473" y="2222"/>
                  </a:cubicBezTo>
                  <a:cubicBezTo>
                    <a:pt x="1505" y="2226"/>
                    <a:pt x="1530" y="2234"/>
                    <a:pt x="1560" y="2245"/>
                  </a:cubicBezTo>
                </a:path>
                <a:path w="7282" h="4686" extrusionOk="0">
                  <a:moveTo>
                    <a:pt x="1047" y="2556"/>
                  </a:moveTo>
                  <a:cubicBezTo>
                    <a:pt x="1027" y="2550"/>
                    <a:pt x="1020" y="2546"/>
                    <a:pt x="1013" y="2531"/>
                  </a:cubicBezTo>
                  <a:cubicBezTo>
                    <a:pt x="1034" y="2505"/>
                    <a:pt x="1052" y="2514"/>
                    <a:pt x="1088" y="2519"/>
                  </a:cubicBezTo>
                  <a:cubicBezTo>
                    <a:pt x="1167" y="2530"/>
                    <a:pt x="1238" y="2534"/>
                    <a:pt x="1318" y="2529"/>
                  </a:cubicBezTo>
                  <a:cubicBezTo>
                    <a:pt x="1417" y="2523"/>
                    <a:pt x="1516" y="2514"/>
                    <a:pt x="1615" y="2506"/>
                  </a:cubicBezTo>
                </a:path>
                <a:path w="7282" h="4686" extrusionOk="0">
                  <a:moveTo>
                    <a:pt x="5802" y="3091"/>
                  </a:moveTo>
                  <a:cubicBezTo>
                    <a:pt x="5804" y="3091"/>
                    <a:pt x="5845" y="3101"/>
                    <a:pt x="5882" y="3133"/>
                  </a:cubicBezTo>
                  <a:cubicBezTo>
                    <a:pt x="5942" y="3185"/>
                    <a:pt x="5998" y="3240"/>
                    <a:pt x="6053" y="3297"/>
                  </a:cubicBezTo>
                  <a:cubicBezTo>
                    <a:pt x="6116" y="3362"/>
                    <a:pt x="6177" y="3427"/>
                    <a:pt x="6233" y="3498"/>
                  </a:cubicBezTo>
                  <a:cubicBezTo>
                    <a:pt x="6272" y="3547"/>
                    <a:pt x="6313" y="3638"/>
                    <a:pt x="6370" y="3669"/>
                  </a:cubicBezTo>
                  <a:cubicBezTo>
                    <a:pt x="6375" y="3670"/>
                    <a:pt x="6380" y="3670"/>
                    <a:pt x="6385" y="3671"/>
                  </a:cubicBezTo>
                </a:path>
                <a:path w="7282" h="4686" extrusionOk="0">
                  <a:moveTo>
                    <a:pt x="6448" y="3011"/>
                  </a:moveTo>
                  <a:cubicBezTo>
                    <a:pt x="6424" y="3027"/>
                    <a:pt x="6405" y="3056"/>
                    <a:pt x="6377" y="3096"/>
                  </a:cubicBezTo>
                  <a:cubicBezTo>
                    <a:pt x="6316" y="3183"/>
                    <a:pt x="6259" y="3273"/>
                    <a:pt x="6202" y="3364"/>
                  </a:cubicBezTo>
                  <a:cubicBezTo>
                    <a:pt x="6137" y="3468"/>
                    <a:pt x="6071" y="3569"/>
                    <a:pt x="6002" y="3669"/>
                  </a:cubicBezTo>
                  <a:cubicBezTo>
                    <a:pt x="5963" y="3725"/>
                    <a:pt x="5935" y="3772"/>
                    <a:pt x="5879" y="3811"/>
                  </a:cubicBezTo>
                </a:path>
                <a:path w="7282" h="4686" extrusionOk="0">
                  <a:moveTo>
                    <a:pt x="5782" y="3520"/>
                  </a:moveTo>
                  <a:cubicBezTo>
                    <a:pt x="5762" y="3498"/>
                    <a:pt x="5788" y="3493"/>
                    <a:pt x="5817" y="3478"/>
                  </a:cubicBezTo>
                  <a:cubicBezTo>
                    <a:pt x="5854" y="3459"/>
                    <a:pt x="5894" y="3444"/>
                    <a:pt x="5930" y="3423"/>
                  </a:cubicBezTo>
                  <a:cubicBezTo>
                    <a:pt x="5993" y="3387"/>
                    <a:pt x="6053" y="3351"/>
                    <a:pt x="6107" y="3302"/>
                  </a:cubicBezTo>
                  <a:cubicBezTo>
                    <a:pt x="6153" y="3256"/>
                    <a:pt x="6168" y="3241"/>
                    <a:pt x="6195" y="3207"/>
                  </a:cubicBezTo>
                </a:path>
                <a:path w="7282" h="4686" extrusionOk="0">
                  <a:moveTo>
                    <a:pt x="6142" y="2981"/>
                  </a:moveTo>
                  <a:cubicBezTo>
                    <a:pt x="6136" y="3082"/>
                    <a:pt x="6133" y="3186"/>
                    <a:pt x="6143" y="3287"/>
                  </a:cubicBezTo>
                  <a:cubicBezTo>
                    <a:pt x="6155" y="3407"/>
                    <a:pt x="6180" y="3526"/>
                    <a:pt x="6190" y="3646"/>
                  </a:cubicBezTo>
                  <a:cubicBezTo>
                    <a:pt x="6196" y="3718"/>
                    <a:pt x="6199" y="3791"/>
                    <a:pt x="6205" y="3864"/>
                  </a:cubicBezTo>
                </a:path>
                <a:path w="7282" h="4686" extrusionOk="0">
                  <a:moveTo>
                    <a:pt x="4371" y="1254"/>
                  </a:moveTo>
                  <a:cubicBezTo>
                    <a:pt x="4406" y="1251"/>
                    <a:pt x="4441" y="1245"/>
                    <a:pt x="4476" y="1243"/>
                  </a:cubicBezTo>
                  <a:cubicBezTo>
                    <a:pt x="4537" y="1239"/>
                    <a:pt x="4598" y="1233"/>
                    <a:pt x="4659" y="1230"/>
                  </a:cubicBezTo>
                  <a:cubicBezTo>
                    <a:pt x="4755" y="1226"/>
                    <a:pt x="4851" y="1223"/>
                    <a:pt x="4947" y="1218"/>
                  </a:cubicBezTo>
                  <a:cubicBezTo>
                    <a:pt x="5037" y="1214"/>
                    <a:pt x="5127" y="1215"/>
                    <a:pt x="5217" y="1216"/>
                  </a:cubicBezTo>
                  <a:cubicBezTo>
                    <a:pt x="5246" y="1216"/>
                    <a:pt x="5321" y="1215"/>
                    <a:pt x="5339" y="1249"/>
                  </a:cubicBezTo>
                  <a:cubicBezTo>
                    <a:pt x="5341" y="1259"/>
                    <a:pt x="5343" y="1268"/>
                    <a:pt x="5345" y="1278"/>
                  </a:cubicBezTo>
                </a:path>
                <a:path w="7282" h="4686" extrusionOk="0">
                  <a:moveTo>
                    <a:pt x="4461" y="1552"/>
                  </a:moveTo>
                  <a:cubicBezTo>
                    <a:pt x="4429" y="1571"/>
                    <a:pt x="4423" y="1585"/>
                    <a:pt x="4404" y="1569"/>
                  </a:cubicBezTo>
                  <a:cubicBezTo>
                    <a:pt x="4436" y="1545"/>
                    <a:pt x="4456" y="1539"/>
                    <a:pt x="4496" y="1534"/>
                  </a:cubicBezTo>
                  <a:cubicBezTo>
                    <a:pt x="4558" y="1527"/>
                    <a:pt x="4620" y="1534"/>
                    <a:pt x="4682" y="1539"/>
                  </a:cubicBezTo>
                  <a:cubicBezTo>
                    <a:pt x="4770" y="1547"/>
                    <a:pt x="4858" y="1557"/>
                    <a:pt x="4947" y="1562"/>
                  </a:cubicBezTo>
                  <a:cubicBezTo>
                    <a:pt x="5027" y="1567"/>
                    <a:pt x="5107" y="1564"/>
                    <a:pt x="5187" y="1565"/>
                  </a:cubicBezTo>
                  <a:cubicBezTo>
                    <a:pt x="5221" y="1565"/>
                    <a:pt x="5254" y="1569"/>
                    <a:pt x="5287" y="1575"/>
                  </a:cubicBezTo>
                </a:path>
                <a:path w="7282" h="4686" extrusionOk="0">
                  <a:moveTo>
                    <a:pt x="4456" y="1856"/>
                  </a:moveTo>
                  <a:cubicBezTo>
                    <a:pt x="4399" y="1865"/>
                    <a:pt x="4491" y="1859"/>
                    <a:pt x="4504" y="1861"/>
                  </a:cubicBezTo>
                  <a:cubicBezTo>
                    <a:pt x="4555" y="1867"/>
                    <a:pt x="4605" y="1876"/>
                    <a:pt x="4656" y="1883"/>
                  </a:cubicBezTo>
                  <a:cubicBezTo>
                    <a:pt x="4732" y="1893"/>
                    <a:pt x="4808" y="1897"/>
                    <a:pt x="4884" y="1908"/>
                  </a:cubicBezTo>
                  <a:cubicBezTo>
                    <a:pt x="4951" y="1918"/>
                    <a:pt x="5018" y="1932"/>
                    <a:pt x="5085" y="1944"/>
                  </a:cubicBezTo>
                  <a:cubicBezTo>
                    <a:pt x="5095" y="1946"/>
                    <a:pt x="5104" y="1947"/>
                    <a:pt x="5114" y="1949"/>
                  </a:cubicBezTo>
                </a:path>
                <a:path w="7282" h="4686" extrusionOk="0">
                  <a:moveTo>
                    <a:pt x="4351" y="2187"/>
                  </a:moveTo>
                  <a:cubicBezTo>
                    <a:pt x="4407" y="2179"/>
                    <a:pt x="4464" y="2160"/>
                    <a:pt x="4522" y="2150"/>
                  </a:cubicBezTo>
                  <a:cubicBezTo>
                    <a:pt x="4612" y="2135"/>
                    <a:pt x="4699" y="2132"/>
                    <a:pt x="4789" y="2144"/>
                  </a:cubicBezTo>
                  <a:cubicBezTo>
                    <a:pt x="4861" y="2154"/>
                    <a:pt x="4933" y="2170"/>
                    <a:pt x="5004" y="2184"/>
                  </a:cubicBezTo>
                </a:path>
                <a:path w="7282" h="4686" extrusionOk="0">
                  <a:moveTo>
                    <a:pt x="6005" y="1474"/>
                  </a:moveTo>
                  <a:cubicBezTo>
                    <a:pt x="6042" y="1467"/>
                    <a:pt x="6072" y="1477"/>
                    <a:pt x="6110" y="1482"/>
                  </a:cubicBezTo>
                  <a:cubicBezTo>
                    <a:pt x="6172" y="1489"/>
                    <a:pt x="6235" y="1501"/>
                    <a:pt x="6298" y="1504"/>
                  </a:cubicBezTo>
                  <a:cubicBezTo>
                    <a:pt x="6360" y="1507"/>
                    <a:pt x="6421" y="1509"/>
                    <a:pt x="6483" y="1510"/>
                  </a:cubicBezTo>
                  <a:cubicBezTo>
                    <a:pt x="6515" y="1512"/>
                    <a:pt x="6524" y="1513"/>
                    <a:pt x="6545" y="1512"/>
                  </a:cubicBezTo>
                </a:path>
                <a:path w="7282" h="4686" extrusionOk="0">
                  <a:moveTo>
                    <a:pt x="6068" y="1728"/>
                  </a:moveTo>
                  <a:cubicBezTo>
                    <a:pt x="6061" y="1725"/>
                    <a:pt x="6054" y="1723"/>
                    <a:pt x="6047" y="1720"/>
                  </a:cubicBezTo>
                  <a:cubicBezTo>
                    <a:pt x="6080" y="1745"/>
                    <a:pt x="6108" y="1771"/>
                    <a:pt x="6145" y="1790"/>
                  </a:cubicBezTo>
                  <a:cubicBezTo>
                    <a:pt x="6191" y="1814"/>
                    <a:pt x="6236" y="1822"/>
                    <a:pt x="6287" y="1826"/>
                  </a:cubicBezTo>
                  <a:cubicBezTo>
                    <a:pt x="6338" y="1830"/>
                    <a:pt x="6387" y="1831"/>
                    <a:pt x="6438" y="1831"/>
                  </a:cubicBezTo>
                </a:path>
                <a:path w="7282" h="4686" extrusionOk="0">
                  <a:moveTo>
                    <a:pt x="5965" y="1982"/>
                  </a:moveTo>
                  <a:cubicBezTo>
                    <a:pt x="6001" y="1992"/>
                    <a:pt x="6034" y="1983"/>
                    <a:pt x="6073" y="1982"/>
                  </a:cubicBezTo>
                  <a:cubicBezTo>
                    <a:pt x="6124" y="1980"/>
                    <a:pt x="6177" y="1983"/>
                    <a:pt x="6228" y="1979"/>
                  </a:cubicBezTo>
                  <a:cubicBezTo>
                    <a:pt x="6263" y="1976"/>
                    <a:pt x="6297" y="1972"/>
                    <a:pt x="6332" y="1971"/>
                  </a:cubicBezTo>
                </a:path>
                <a:path w="7282" h="4686" extrusionOk="0">
                  <a:moveTo>
                    <a:pt x="5954" y="2288"/>
                  </a:moveTo>
                  <a:cubicBezTo>
                    <a:pt x="5934" y="2305"/>
                    <a:pt x="5928" y="2309"/>
                    <a:pt x="5922" y="2326"/>
                  </a:cubicBezTo>
                  <a:cubicBezTo>
                    <a:pt x="5960" y="2334"/>
                    <a:pt x="5999" y="2336"/>
                    <a:pt x="6038" y="2341"/>
                  </a:cubicBezTo>
                  <a:cubicBezTo>
                    <a:pt x="6090" y="2347"/>
                    <a:pt x="6144" y="2351"/>
                    <a:pt x="6195" y="2363"/>
                  </a:cubicBezTo>
                  <a:cubicBezTo>
                    <a:pt x="6225" y="2370"/>
                    <a:pt x="6250" y="2375"/>
                    <a:pt x="6280" y="2378"/>
                  </a:cubicBezTo>
                </a:path>
                <a:path w="7282" h="4686" extrusionOk="0">
                  <a:moveTo>
                    <a:pt x="2823" y="3852"/>
                  </a:moveTo>
                  <a:cubicBezTo>
                    <a:pt x="2841" y="3815"/>
                    <a:pt x="2855" y="3811"/>
                    <a:pt x="2895" y="3804"/>
                  </a:cubicBezTo>
                  <a:cubicBezTo>
                    <a:pt x="2948" y="3795"/>
                    <a:pt x="3002" y="3792"/>
                    <a:pt x="3056" y="3786"/>
                  </a:cubicBezTo>
                  <a:cubicBezTo>
                    <a:pt x="3133" y="3777"/>
                    <a:pt x="3211" y="3765"/>
                    <a:pt x="3289" y="3759"/>
                  </a:cubicBezTo>
                  <a:cubicBezTo>
                    <a:pt x="3350" y="3754"/>
                    <a:pt x="3414" y="3741"/>
                    <a:pt x="3474" y="3759"/>
                  </a:cubicBezTo>
                  <a:cubicBezTo>
                    <a:pt x="3496" y="3770"/>
                    <a:pt x="3502" y="3772"/>
                    <a:pt x="3514" y="3781"/>
                  </a:cubicBezTo>
                </a:path>
                <a:path w="7282" h="4686" extrusionOk="0">
                  <a:moveTo>
                    <a:pt x="2863" y="4176"/>
                  </a:moveTo>
                  <a:cubicBezTo>
                    <a:pt x="2856" y="4176"/>
                    <a:pt x="2850" y="4176"/>
                    <a:pt x="2843" y="4176"/>
                  </a:cubicBezTo>
                  <a:cubicBezTo>
                    <a:pt x="2853" y="4133"/>
                    <a:pt x="2892" y="4112"/>
                    <a:pt x="2933" y="4093"/>
                  </a:cubicBezTo>
                  <a:cubicBezTo>
                    <a:pt x="2993" y="4065"/>
                    <a:pt x="3063" y="4051"/>
                    <a:pt x="3129" y="4045"/>
                  </a:cubicBezTo>
                  <a:cubicBezTo>
                    <a:pt x="3189" y="4040"/>
                    <a:pt x="3252" y="4048"/>
                    <a:pt x="3311" y="4057"/>
                  </a:cubicBezTo>
                  <a:cubicBezTo>
                    <a:pt x="3340" y="4062"/>
                    <a:pt x="3367" y="4067"/>
                    <a:pt x="3396" y="4070"/>
                  </a:cubicBezTo>
                </a:path>
                <a:path w="7282" h="4686" extrusionOk="0">
                  <a:moveTo>
                    <a:pt x="2949" y="4366"/>
                  </a:moveTo>
                  <a:cubicBezTo>
                    <a:pt x="2980" y="4362"/>
                    <a:pt x="3010" y="4347"/>
                    <a:pt x="3041" y="4344"/>
                  </a:cubicBezTo>
                  <a:cubicBezTo>
                    <a:pt x="3084" y="4339"/>
                    <a:pt x="3122" y="4349"/>
                    <a:pt x="3164" y="4357"/>
                  </a:cubicBezTo>
                  <a:cubicBezTo>
                    <a:pt x="3207" y="4365"/>
                    <a:pt x="3250" y="4375"/>
                    <a:pt x="3294" y="4376"/>
                  </a:cubicBezTo>
                  <a:cubicBezTo>
                    <a:pt x="3319" y="4376"/>
                    <a:pt x="3340" y="4370"/>
                    <a:pt x="3363" y="4362"/>
                  </a:cubicBezTo>
                </a:path>
                <a:path w="7282" h="4686" extrusionOk="0">
                  <a:moveTo>
                    <a:pt x="2738" y="4672"/>
                  </a:moveTo>
                  <a:cubicBezTo>
                    <a:pt x="2707" y="4696"/>
                    <a:pt x="2776" y="4682"/>
                    <a:pt x="2798" y="4680"/>
                  </a:cubicBezTo>
                  <a:cubicBezTo>
                    <a:pt x="2867" y="4673"/>
                    <a:pt x="2933" y="4655"/>
                    <a:pt x="2998" y="4633"/>
                  </a:cubicBezTo>
                  <a:cubicBezTo>
                    <a:pt x="3097" y="4600"/>
                    <a:pt x="3195" y="4556"/>
                    <a:pt x="3291" y="4515"/>
                  </a:cubicBezTo>
                  <a:cubicBezTo>
                    <a:pt x="3361" y="4483"/>
                    <a:pt x="3384" y="4473"/>
                    <a:pt x="3431" y="4454"/>
                  </a:cubicBezTo>
                </a:path>
                <a:path w="7282" h="4686" extrusionOk="0">
                  <a:moveTo>
                    <a:pt x="270" y="232"/>
                  </a:moveTo>
                  <a:cubicBezTo>
                    <a:pt x="252" y="213"/>
                    <a:pt x="248" y="208"/>
                    <a:pt x="235" y="186"/>
                  </a:cubicBezTo>
                  <a:cubicBezTo>
                    <a:pt x="260" y="207"/>
                    <a:pt x="259" y="208"/>
                    <a:pt x="289" y="221"/>
                  </a:cubicBezTo>
                  <a:cubicBezTo>
                    <a:pt x="409" y="271"/>
                    <a:pt x="552" y="261"/>
                    <a:pt x="679" y="259"/>
                  </a:cubicBezTo>
                  <a:cubicBezTo>
                    <a:pt x="789" y="257"/>
                    <a:pt x="898" y="248"/>
                    <a:pt x="1008" y="249"/>
                  </a:cubicBezTo>
                  <a:cubicBezTo>
                    <a:pt x="1079" y="250"/>
                    <a:pt x="1146" y="260"/>
                    <a:pt x="1215" y="274"/>
                  </a:cubicBezTo>
                  <a:cubicBezTo>
                    <a:pt x="1237" y="279"/>
                    <a:pt x="1312" y="287"/>
                    <a:pt x="1328" y="309"/>
                  </a:cubicBezTo>
                  <a:cubicBezTo>
                    <a:pt x="1330" y="329"/>
                    <a:pt x="1331" y="335"/>
                    <a:pt x="1323" y="347"/>
                  </a:cubicBezTo>
                </a:path>
                <a:path w="7282" h="4686" extrusionOk="0">
                  <a:moveTo>
                    <a:pt x="217" y="679"/>
                  </a:moveTo>
                  <a:cubicBezTo>
                    <a:pt x="221" y="636"/>
                    <a:pt x="230" y="620"/>
                    <a:pt x="280" y="611"/>
                  </a:cubicBezTo>
                  <a:cubicBezTo>
                    <a:pt x="350" y="599"/>
                    <a:pt x="426" y="598"/>
                    <a:pt x="497" y="595"/>
                  </a:cubicBezTo>
                  <a:cubicBezTo>
                    <a:pt x="636" y="590"/>
                    <a:pt x="774" y="586"/>
                    <a:pt x="913" y="593"/>
                  </a:cubicBezTo>
                  <a:cubicBezTo>
                    <a:pt x="1000" y="597"/>
                    <a:pt x="1087" y="604"/>
                    <a:pt x="1173" y="618"/>
                  </a:cubicBezTo>
                  <a:cubicBezTo>
                    <a:pt x="1188" y="620"/>
                    <a:pt x="1279" y="653"/>
                    <a:pt x="1293" y="644"/>
                  </a:cubicBezTo>
                  <a:cubicBezTo>
                    <a:pt x="1311" y="649"/>
                    <a:pt x="1314" y="648"/>
                    <a:pt x="1292" y="630"/>
                  </a:cubicBezTo>
                </a:path>
                <a:path w="7282" h="4686" extrusionOk="0">
                  <a:moveTo>
                    <a:pt x="4049" y="3533"/>
                  </a:moveTo>
                  <a:cubicBezTo>
                    <a:pt x="4056" y="3514"/>
                    <a:pt x="4057" y="3508"/>
                    <a:pt x="4071" y="3503"/>
                  </a:cubicBezTo>
                  <a:cubicBezTo>
                    <a:pt x="4075" y="3540"/>
                    <a:pt x="4070" y="3561"/>
                    <a:pt x="4049" y="3593"/>
                  </a:cubicBezTo>
                  <a:cubicBezTo>
                    <a:pt x="4034" y="3616"/>
                    <a:pt x="4017" y="3637"/>
                    <a:pt x="4007" y="3663"/>
                  </a:cubicBezTo>
                  <a:cubicBezTo>
                    <a:pt x="3995" y="3694"/>
                    <a:pt x="3974" y="3745"/>
                    <a:pt x="4012" y="3764"/>
                  </a:cubicBezTo>
                  <a:cubicBezTo>
                    <a:pt x="4049" y="3783"/>
                    <a:pt x="4120" y="3754"/>
                    <a:pt x="4157" y="3749"/>
                  </a:cubicBezTo>
                  <a:cubicBezTo>
                    <a:pt x="4199" y="3744"/>
                    <a:pt x="4238" y="3751"/>
                    <a:pt x="4279" y="3756"/>
                  </a:cubicBezTo>
                  <a:cubicBezTo>
                    <a:pt x="4311" y="3759"/>
                    <a:pt x="4344" y="3776"/>
                    <a:pt x="4376" y="3776"/>
                  </a:cubicBezTo>
                  <a:cubicBezTo>
                    <a:pt x="4383" y="3775"/>
                    <a:pt x="4389" y="3773"/>
                    <a:pt x="4396" y="3772"/>
                  </a:cubicBezTo>
                </a:path>
                <a:path w="7282" h="4686" extrusionOk="0">
                  <a:moveTo>
                    <a:pt x="2668" y="2955"/>
                  </a:moveTo>
                  <a:cubicBezTo>
                    <a:pt x="2662" y="3015"/>
                    <a:pt x="2668" y="3074"/>
                    <a:pt x="2671" y="3134"/>
                  </a:cubicBezTo>
                  <a:cubicBezTo>
                    <a:pt x="2673" y="3175"/>
                    <a:pt x="2674" y="3220"/>
                    <a:pt x="2685" y="3260"/>
                  </a:cubicBezTo>
                  <a:cubicBezTo>
                    <a:pt x="2692" y="3284"/>
                    <a:pt x="2700" y="3308"/>
                    <a:pt x="2708" y="3332"/>
                  </a:cubicBezTo>
                </a:path>
                <a:path w="7282" h="4686" extrusionOk="0">
                  <a:moveTo>
                    <a:pt x="2748" y="2832"/>
                  </a:moveTo>
                  <a:cubicBezTo>
                    <a:pt x="2735" y="2848"/>
                    <a:pt x="2705" y="2893"/>
                    <a:pt x="2683" y="2898"/>
                  </a:cubicBezTo>
                  <a:cubicBezTo>
                    <a:pt x="2655" y="2904"/>
                    <a:pt x="2634" y="2891"/>
                    <a:pt x="2610" y="2875"/>
                  </a:cubicBezTo>
                  <a:cubicBezTo>
                    <a:pt x="2553" y="2837"/>
                    <a:pt x="2514" y="2766"/>
                    <a:pt x="2488" y="2705"/>
                  </a:cubicBezTo>
                  <a:cubicBezTo>
                    <a:pt x="2455" y="2626"/>
                    <a:pt x="2436" y="2533"/>
                    <a:pt x="2465" y="2449"/>
                  </a:cubicBezTo>
                  <a:cubicBezTo>
                    <a:pt x="2484" y="2393"/>
                    <a:pt x="2531" y="2347"/>
                    <a:pt x="2580" y="2316"/>
                  </a:cubicBezTo>
                  <a:cubicBezTo>
                    <a:pt x="2650" y="2272"/>
                    <a:pt x="2741" y="2255"/>
                    <a:pt x="2823" y="2253"/>
                  </a:cubicBezTo>
                  <a:cubicBezTo>
                    <a:pt x="2904" y="2251"/>
                    <a:pt x="2979" y="2274"/>
                    <a:pt x="3051" y="2310"/>
                  </a:cubicBezTo>
                  <a:cubicBezTo>
                    <a:pt x="3100" y="2334"/>
                    <a:pt x="3145" y="2371"/>
                    <a:pt x="3166" y="2423"/>
                  </a:cubicBezTo>
                  <a:cubicBezTo>
                    <a:pt x="3183" y="2467"/>
                    <a:pt x="3171" y="2523"/>
                    <a:pt x="3148" y="2562"/>
                  </a:cubicBezTo>
                  <a:cubicBezTo>
                    <a:pt x="3133" y="2588"/>
                    <a:pt x="3106" y="2600"/>
                    <a:pt x="3089" y="2622"/>
                  </a:cubicBezTo>
                  <a:cubicBezTo>
                    <a:pt x="3087" y="2627"/>
                    <a:pt x="3086" y="2632"/>
                    <a:pt x="3084" y="2637"/>
                  </a:cubicBezTo>
                  <a:cubicBezTo>
                    <a:pt x="3119" y="2648"/>
                    <a:pt x="3142" y="2628"/>
                    <a:pt x="3146" y="2677"/>
                  </a:cubicBezTo>
                  <a:cubicBezTo>
                    <a:pt x="3152" y="2757"/>
                    <a:pt x="3117" y="2850"/>
                    <a:pt x="3109" y="2930"/>
                  </a:cubicBezTo>
                  <a:cubicBezTo>
                    <a:pt x="3103" y="2989"/>
                    <a:pt x="3121" y="3085"/>
                    <a:pt x="3091" y="3138"/>
                  </a:cubicBezTo>
                  <a:cubicBezTo>
                    <a:pt x="3072" y="3172"/>
                    <a:pt x="3089" y="3146"/>
                    <a:pt x="3068" y="3123"/>
                  </a:cubicBezTo>
                </a:path>
                <a:path w="7282" h="4686" extrusionOk="0">
                  <a:moveTo>
                    <a:pt x="2670" y="3172"/>
                  </a:moveTo>
                  <a:cubicBezTo>
                    <a:pt x="2604" y="3207"/>
                    <a:pt x="2722" y="3150"/>
                    <a:pt x="2731" y="3146"/>
                  </a:cubicBezTo>
                  <a:cubicBezTo>
                    <a:pt x="2790" y="3122"/>
                    <a:pt x="2849" y="3102"/>
                    <a:pt x="2911" y="3086"/>
                  </a:cubicBezTo>
                  <a:cubicBezTo>
                    <a:pt x="2961" y="3073"/>
                    <a:pt x="3012" y="3065"/>
                    <a:pt x="3064" y="3063"/>
                  </a:cubicBezTo>
                  <a:cubicBezTo>
                    <a:pt x="3082" y="3062"/>
                    <a:pt x="3100" y="3062"/>
                    <a:pt x="3118" y="3061"/>
                  </a:cubicBezTo>
                  <a:cubicBezTo>
                    <a:pt x="3084" y="3075"/>
                    <a:pt x="3051" y="3090"/>
                    <a:pt x="3018" y="3108"/>
                  </a:cubicBezTo>
                  <a:cubicBezTo>
                    <a:pt x="2967" y="3136"/>
                    <a:pt x="2915" y="3163"/>
                    <a:pt x="2865" y="3191"/>
                  </a:cubicBezTo>
                  <a:cubicBezTo>
                    <a:pt x="2830" y="3211"/>
                    <a:pt x="2795" y="3233"/>
                    <a:pt x="2756" y="3246"/>
                  </a:cubicBezTo>
                  <a:cubicBezTo>
                    <a:pt x="2751" y="3247"/>
                    <a:pt x="2746" y="3248"/>
                    <a:pt x="2741" y="3249"/>
                  </a:cubicBezTo>
                  <a:cubicBezTo>
                    <a:pt x="2771" y="3244"/>
                    <a:pt x="2798" y="3245"/>
                    <a:pt x="2828" y="3244"/>
                  </a:cubicBezTo>
                  <a:cubicBezTo>
                    <a:pt x="2866" y="3242"/>
                    <a:pt x="2904" y="3241"/>
                    <a:pt x="2941" y="3236"/>
                  </a:cubicBezTo>
                  <a:cubicBezTo>
                    <a:pt x="2985" y="3230"/>
                    <a:pt x="3029" y="3218"/>
                    <a:pt x="3074" y="3216"/>
                  </a:cubicBezTo>
                  <a:cubicBezTo>
                    <a:pt x="3079" y="3216"/>
                    <a:pt x="3084" y="3216"/>
                    <a:pt x="3089" y="3216"/>
                  </a:cubicBezTo>
                  <a:cubicBezTo>
                    <a:pt x="3085" y="3249"/>
                    <a:pt x="3059" y="3260"/>
                    <a:pt x="3029" y="3280"/>
                  </a:cubicBezTo>
                  <a:cubicBezTo>
                    <a:pt x="2992" y="3304"/>
                    <a:pt x="2953" y="3326"/>
                    <a:pt x="2916" y="3349"/>
                  </a:cubicBezTo>
                  <a:cubicBezTo>
                    <a:pt x="2899" y="3359"/>
                    <a:pt x="2894" y="3362"/>
                    <a:pt x="2891" y="3375"/>
                  </a:cubicBezTo>
                  <a:cubicBezTo>
                    <a:pt x="2928" y="3367"/>
                    <a:pt x="2962" y="3355"/>
                    <a:pt x="2998" y="3344"/>
                  </a:cubicBezTo>
                  <a:cubicBezTo>
                    <a:pt x="3027" y="3335"/>
                    <a:pt x="3049" y="3322"/>
                    <a:pt x="3079" y="3315"/>
                  </a:cubicBezTo>
                </a:path>
                <a:path w="7282" h="4686" extrusionOk="0">
                  <a:moveTo>
                    <a:pt x="2878" y="3119"/>
                  </a:moveTo>
                  <a:cubicBezTo>
                    <a:pt x="2897" y="3102"/>
                    <a:pt x="2904" y="3100"/>
                    <a:pt x="2909" y="3064"/>
                  </a:cubicBezTo>
                  <a:cubicBezTo>
                    <a:pt x="2915" y="3021"/>
                    <a:pt x="2909" y="2978"/>
                    <a:pt x="2900" y="2936"/>
                  </a:cubicBezTo>
                  <a:cubicBezTo>
                    <a:pt x="2883" y="2859"/>
                    <a:pt x="2854" y="2786"/>
                    <a:pt x="2823" y="2714"/>
                  </a:cubicBezTo>
                  <a:cubicBezTo>
                    <a:pt x="2796" y="2652"/>
                    <a:pt x="2764" y="2595"/>
                    <a:pt x="2731" y="2536"/>
                  </a:cubicBezTo>
                  <a:cubicBezTo>
                    <a:pt x="2719" y="2513"/>
                    <a:pt x="2716" y="2507"/>
                    <a:pt x="2711" y="2491"/>
                  </a:cubicBezTo>
                  <a:cubicBezTo>
                    <a:pt x="2744" y="2505"/>
                    <a:pt x="2760" y="2518"/>
                    <a:pt x="2781" y="2546"/>
                  </a:cubicBezTo>
                  <a:cubicBezTo>
                    <a:pt x="2806" y="2579"/>
                    <a:pt x="2826" y="2615"/>
                    <a:pt x="2845" y="2652"/>
                  </a:cubicBezTo>
                  <a:cubicBezTo>
                    <a:pt x="2860" y="2682"/>
                    <a:pt x="2872" y="2716"/>
                    <a:pt x="2890" y="2744"/>
                  </a:cubicBezTo>
                  <a:cubicBezTo>
                    <a:pt x="2894" y="2749"/>
                    <a:pt x="2899" y="2755"/>
                    <a:pt x="2903" y="2760"/>
                  </a:cubicBezTo>
                  <a:cubicBezTo>
                    <a:pt x="2915" y="2725"/>
                    <a:pt x="2918" y="2697"/>
                    <a:pt x="2916" y="2659"/>
                  </a:cubicBezTo>
                  <a:cubicBezTo>
                    <a:pt x="2914" y="2629"/>
                    <a:pt x="2909" y="2598"/>
                    <a:pt x="2904" y="2569"/>
                  </a:cubicBezTo>
                  <a:cubicBezTo>
                    <a:pt x="2934" y="2597"/>
                    <a:pt x="2954" y="2614"/>
                    <a:pt x="2993" y="2627"/>
                  </a:cubicBezTo>
                  <a:cubicBezTo>
                    <a:pt x="3022" y="2637"/>
                    <a:pt x="3039" y="2643"/>
                    <a:pt x="3069" y="2632"/>
                  </a:cubicBezTo>
                  <a:cubicBezTo>
                    <a:pt x="3090" y="2624"/>
                    <a:pt x="3097" y="2621"/>
                    <a:pt x="3109" y="2611"/>
                  </a:cubicBezTo>
                </a:path>
                <a:path w="7282" h="4686" extrusionOk="0">
                  <a:moveTo>
                    <a:pt x="6302" y="3420"/>
                  </a:moveTo>
                  <a:cubicBezTo>
                    <a:pt x="6294" y="3400"/>
                    <a:pt x="6288" y="3381"/>
                    <a:pt x="6283" y="3360"/>
                  </a:cubicBezTo>
                  <a:cubicBezTo>
                    <a:pt x="6301" y="3386"/>
                    <a:pt x="6312" y="3391"/>
                    <a:pt x="6345" y="3393"/>
                  </a:cubicBezTo>
                  <a:cubicBezTo>
                    <a:pt x="6374" y="3394"/>
                    <a:pt x="6392" y="3391"/>
                    <a:pt x="6417" y="3375"/>
                  </a:cubicBezTo>
                  <a:cubicBezTo>
                    <a:pt x="6442" y="3359"/>
                    <a:pt x="6468" y="3337"/>
                    <a:pt x="6488" y="3314"/>
                  </a:cubicBezTo>
                  <a:cubicBezTo>
                    <a:pt x="6510" y="3289"/>
                    <a:pt x="6529" y="3258"/>
                    <a:pt x="6545" y="3229"/>
                  </a:cubicBezTo>
                  <a:cubicBezTo>
                    <a:pt x="6560" y="3202"/>
                    <a:pt x="6572" y="3154"/>
                    <a:pt x="6605" y="3144"/>
                  </a:cubicBezTo>
                  <a:cubicBezTo>
                    <a:pt x="6626" y="3138"/>
                    <a:pt x="6665" y="3151"/>
                    <a:pt x="6683" y="3161"/>
                  </a:cubicBezTo>
                  <a:cubicBezTo>
                    <a:pt x="6714" y="3178"/>
                    <a:pt x="6744" y="3204"/>
                    <a:pt x="6773" y="3224"/>
                  </a:cubicBezTo>
                  <a:cubicBezTo>
                    <a:pt x="6803" y="3245"/>
                    <a:pt x="6799" y="3277"/>
                    <a:pt x="6815" y="3305"/>
                  </a:cubicBezTo>
                </a:path>
                <a:path w="7282" h="4686" extrusionOk="0">
                  <a:moveTo>
                    <a:pt x="6693" y="3430"/>
                  </a:moveTo>
                  <a:cubicBezTo>
                    <a:pt x="6683" y="3392"/>
                    <a:pt x="6703" y="3397"/>
                    <a:pt x="6740" y="3390"/>
                  </a:cubicBezTo>
                  <a:cubicBezTo>
                    <a:pt x="6771" y="3385"/>
                    <a:pt x="6802" y="3377"/>
                    <a:pt x="6832" y="3369"/>
                  </a:cubicBezTo>
                  <a:cubicBezTo>
                    <a:pt x="6874" y="3358"/>
                    <a:pt x="6917" y="3350"/>
                    <a:pt x="6960" y="3342"/>
                  </a:cubicBezTo>
                  <a:cubicBezTo>
                    <a:pt x="7002" y="3335"/>
                    <a:pt x="7036" y="3336"/>
                    <a:pt x="7075" y="3355"/>
                  </a:cubicBezTo>
                  <a:cubicBezTo>
                    <a:pt x="7090" y="3364"/>
                    <a:pt x="7095" y="3367"/>
                    <a:pt x="7085" y="3380"/>
                  </a:cubicBezTo>
                </a:path>
                <a:path w="7282" h="4686" extrusionOk="0">
                  <a:moveTo>
                    <a:pt x="6652" y="3510"/>
                  </a:moveTo>
                  <a:cubicBezTo>
                    <a:pt x="6685" y="3506"/>
                    <a:pt x="6681" y="3529"/>
                    <a:pt x="6688" y="3568"/>
                  </a:cubicBezTo>
                  <a:cubicBezTo>
                    <a:pt x="6699" y="3627"/>
                    <a:pt x="6711" y="3687"/>
                    <a:pt x="6717" y="3747"/>
                  </a:cubicBezTo>
                  <a:cubicBezTo>
                    <a:pt x="6725" y="3836"/>
                    <a:pt x="6725" y="3927"/>
                    <a:pt x="6713" y="4015"/>
                  </a:cubicBezTo>
                  <a:cubicBezTo>
                    <a:pt x="6709" y="4043"/>
                    <a:pt x="6705" y="4072"/>
                    <a:pt x="6702" y="4100"/>
                  </a:cubicBezTo>
                  <a:cubicBezTo>
                    <a:pt x="6729" y="4111"/>
                    <a:pt x="6752" y="4107"/>
                    <a:pt x="6783" y="4106"/>
                  </a:cubicBezTo>
                  <a:cubicBezTo>
                    <a:pt x="6821" y="4105"/>
                    <a:pt x="6859" y="4104"/>
                    <a:pt x="6897" y="4101"/>
                  </a:cubicBezTo>
                  <a:cubicBezTo>
                    <a:pt x="6939" y="4098"/>
                    <a:pt x="6977" y="4089"/>
                    <a:pt x="7018" y="4078"/>
                  </a:cubicBezTo>
                  <a:cubicBezTo>
                    <a:pt x="7063" y="4066"/>
                    <a:pt x="7089" y="4071"/>
                    <a:pt x="7131" y="4087"/>
                  </a:cubicBezTo>
                  <a:cubicBezTo>
                    <a:pt x="7125" y="4056"/>
                    <a:pt x="7119" y="4024"/>
                    <a:pt x="7113" y="3992"/>
                  </a:cubicBezTo>
                  <a:cubicBezTo>
                    <a:pt x="7086" y="3854"/>
                    <a:pt x="7067" y="3713"/>
                    <a:pt x="7053" y="3573"/>
                  </a:cubicBezTo>
                  <a:cubicBezTo>
                    <a:pt x="7047" y="3514"/>
                    <a:pt x="7042" y="3454"/>
                    <a:pt x="7040" y="3395"/>
                  </a:cubicBezTo>
                  <a:cubicBezTo>
                    <a:pt x="7040" y="3375"/>
                    <a:pt x="7040" y="3368"/>
                    <a:pt x="7038" y="3355"/>
                  </a:cubicBezTo>
                </a:path>
                <a:path w="7282" h="4686" extrusionOk="0">
                  <a:moveTo>
                    <a:pt x="5572" y="1520"/>
                  </a:moveTo>
                  <a:cubicBezTo>
                    <a:pt x="5597" y="1496"/>
                    <a:pt x="5620" y="1476"/>
                    <a:pt x="5650" y="1456"/>
                  </a:cubicBezTo>
                  <a:cubicBezTo>
                    <a:pt x="5683" y="1434"/>
                    <a:pt x="5718" y="1414"/>
                    <a:pt x="5752" y="1394"/>
                  </a:cubicBezTo>
                  <a:cubicBezTo>
                    <a:pt x="5803" y="1364"/>
                    <a:pt x="5854" y="1333"/>
                    <a:pt x="5907" y="1306"/>
                  </a:cubicBezTo>
                  <a:cubicBezTo>
                    <a:pt x="5996" y="1261"/>
                    <a:pt x="6091" y="1227"/>
                    <a:pt x="6187" y="1200"/>
                  </a:cubicBezTo>
                  <a:cubicBezTo>
                    <a:pt x="6367" y="1150"/>
                    <a:pt x="6607" y="1096"/>
                    <a:pt x="6783" y="1188"/>
                  </a:cubicBezTo>
                  <a:cubicBezTo>
                    <a:pt x="6825" y="1210"/>
                    <a:pt x="6860" y="1243"/>
                    <a:pt x="6890" y="1279"/>
                  </a:cubicBezTo>
                  <a:cubicBezTo>
                    <a:pt x="6914" y="1308"/>
                    <a:pt x="6936" y="1338"/>
                    <a:pt x="6962" y="1366"/>
                  </a:cubicBezTo>
                  <a:cubicBezTo>
                    <a:pt x="6987" y="1393"/>
                    <a:pt x="7003" y="1407"/>
                    <a:pt x="7011" y="1441"/>
                  </a:cubicBezTo>
                  <a:cubicBezTo>
                    <a:pt x="7011" y="1446"/>
                    <a:pt x="7010" y="1452"/>
                    <a:pt x="7010" y="1457"/>
                  </a:cubicBezTo>
                </a:path>
                <a:path w="7282" h="4686" extrusionOk="0">
                  <a:moveTo>
                    <a:pt x="5684" y="1903"/>
                  </a:moveTo>
                  <a:cubicBezTo>
                    <a:pt x="5698" y="1875"/>
                    <a:pt x="5705" y="1850"/>
                    <a:pt x="5724" y="1825"/>
                  </a:cubicBezTo>
                  <a:cubicBezTo>
                    <a:pt x="5745" y="1797"/>
                    <a:pt x="5771" y="1782"/>
                    <a:pt x="5802" y="1766"/>
                  </a:cubicBezTo>
                  <a:cubicBezTo>
                    <a:pt x="5869" y="1732"/>
                    <a:pt x="5939" y="1702"/>
                    <a:pt x="6007" y="1670"/>
                  </a:cubicBezTo>
                  <a:cubicBezTo>
                    <a:pt x="6145" y="1605"/>
                    <a:pt x="6301" y="1516"/>
                    <a:pt x="6457" y="1510"/>
                  </a:cubicBezTo>
                  <a:cubicBezTo>
                    <a:pt x="6517" y="1508"/>
                    <a:pt x="6582" y="1533"/>
                    <a:pt x="6625" y="1575"/>
                  </a:cubicBezTo>
                  <a:cubicBezTo>
                    <a:pt x="6686" y="1635"/>
                    <a:pt x="6717" y="1706"/>
                    <a:pt x="6795" y="1748"/>
                  </a:cubicBezTo>
                  <a:cubicBezTo>
                    <a:pt x="6821" y="1762"/>
                    <a:pt x="6850" y="1768"/>
                    <a:pt x="6878" y="1778"/>
                  </a:cubicBezTo>
                  <a:cubicBezTo>
                    <a:pt x="6937" y="1799"/>
                    <a:pt x="6850" y="1753"/>
                    <a:pt x="6843" y="1748"/>
                  </a:cubicBezTo>
                </a:path>
                <a:path w="7282" h="4686" extrusionOk="0">
                  <a:moveTo>
                    <a:pt x="6950" y="1426"/>
                  </a:moveTo>
                  <a:cubicBezTo>
                    <a:pt x="6978" y="1399"/>
                    <a:pt x="6946" y="1453"/>
                    <a:pt x="6948" y="1485"/>
                  </a:cubicBezTo>
                  <a:cubicBezTo>
                    <a:pt x="6951" y="1538"/>
                    <a:pt x="6956" y="1592"/>
                    <a:pt x="6957" y="1645"/>
                  </a:cubicBezTo>
                  <a:cubicBezTo>
                    <a:pt x="6958" y="1705"/>
                    <a:pt x="6952" y="1765"/>
                    <a:pt x="6950" y="1825"/>
                  </a:cubicBezTo>
                  <a:cubicBezTo>
                    <a:pt x="6949" y="1854"/>
                    <a:pt x="6947" y="1856"/>
                    <a:pt x="6960" y="1879"/>
                  </a:cubicBezTo>
                  <a:cubicBezTo>
                    <a:pt x="6962" y="1860"/>
                    <a:pt x="6963" y="1852"/>
                    <a:pt x="6958" y="1839"/>
                  </a:cubicBezTo>
                </a:path>
                <a:path w="7282" h="4686" extrusionOk="0">
                  <a:moveTo>
                    <a:pt x="6968" y="1721"/>
                  </a:moveTo>
                  <a:cubicBezTo>
                    <a:pt x="6995" y="1752"/>
                    <a:pt x="7009" y="1752"/>
                    <a:pt x="7050" y="1743"/>
                  </a:cubicBezTo>
                  <a:cubicBezTo>
                    <a:pt x="7088" y="1734"/>
                    <a:pt x="7122" y="1717"/>
                    <a:pt x="7156" y="1700"/>
                  </a:cubicBezTo>
                  <a:cubicBezTo>
                    <a:pt x="7172" y="1692"/>
                    <a:pt x="7213" y="1664"/>
                    <a:pt x="7233" y="1672"/>
                  </a:cubicBezTo>
                  <a:cubicBezTo>
                    <a:pt x="7251" y="1679"/>
                    <a:pt x="7262" y="1695"/>
                    <a:pt x="7281" y="1702"/>
                  </a:cubicBezTo>
                  <a:cubicBezTo>
                    <a:pt x="7254" y="1729"/>
                    <a:pt x="7225" y="1753"/>
                    <a:pt x="7195" y="1778"/>
                  </a:cubicBezTo>
                  <a:cubicBezTo>
                    <a:pt x="7164" y="1804"/>
                    <a:pt x="7134" y="1831"/>
                    <a:pt x="7103" y="1856"/>
                  </a:cubicBezTo>
                  <a:cubicBezTo>
                    <a:pt x="7087" y="1869"/>
                    <a:pt x="7081" y="1873"/>
                    <a:pt x="7071" y="1883"/>
                  </a:cubicBezTo>
                  <a:cubicBezTo>
                    <a:pt x="7098" y="1896"/>
                    <a:pt x="7125" y="1901"/>
                    <a:pt x="7153" y="1911"/>
                  </a:cubicBezTo>
                  <a:cubicBezTo>
                    <a:pt x="7184" y="1922"/>
                    <a:pt x="7212" y="1937"/>
                    <a:pt x="7205" y="1976"/>
                  </a:cubicBezTo>
                  <a:cubicBezTo>
                    <a:pt x="7198" y="2012"/>
                    <a:pt x="7167" y="2033"/>
                    <a:pt x="7138" y="2051"/>
                  </a:cubicBezTo>
                  <a:cubicBezTo>
                    <a:pt x="7111" y="2068"/>
                    <a:pt x="7085" y="2086"/>
                    <a:pt x="7063" y="2110"/>
                  </a:cubicBezTo>
                  <a:cubicBezTo>
                    <a:pt x="7044" y="2131"/>
                    <a:pt x="7035" y="2152"/>
                    <a:pt x="7030" y="2179"/>
                  </a:cubicBezTo>
                  <a:cubicBezTo>
                    <a:pt x="7000" y="2168"/>
                    <a:pt x="6984" y="2165"/>
                    <a:pt x="6953" y="2177"/>
                  </a:cubicBezTo>
                  <a:cubicBezTo>
                    <a:pt x="6948" y="2179"/>
                    <a:pt x="6943" y="2182"/>
                    <a:pt x="6938" y="2184"/>
                  </a:cubicBezTo>
                  <a:cubicBezTo>
                    <a:pt x="6927" y="2114"/>
                    <a:pt x="6932" y="2042"/>
                    <a:pt x="6922" y="1972"/>
                  </a:cubicBezTo>
                </a:path>
                <a:path w="7282" h="4686" extrusionOk="0">
                  <a:moveTo>
                    <a:pt x="5522" y="1569"/>
                  </a:moveTo>
                  <a:cubicBezTo>
                    <a:pt x="5529" y="1525"/>
                    <a:pt x="5541" y="1492"/>
                    <a:pt x="5564" y="1454"/>
                  </a:cubicBezTo>
                  <a:cubicBezTo>
                    <a:pt x="5569" y="1488"/>
                    <a:pt x="5568" y="1524"/>
                    <a:pt x="5567" y="1559"/>
                  </a:cubicBezTo>
                  <a:cubicBezTo>
                    <a:pt x="5566" y="1621"/>
                    <a:pt x="5565" y="1683"/>
                    <a:pt x="5567" y="1745"/>
                  </a:cubicBezTo>
                  <a:cubicBezTo>
                    <a:pt x="5569" y="1827"/>
                    <a:pt x="5571" y="1910"/>
                    <a:pt x="5572" y="1992"/>
                  </a:cubicBezTo>
                  <a:cubicBezTo>
                    <a:pt x="5573" y="2049"/>
                    <a:pt x="5573" y="2105"/>
                    <a:pt x="5574" y="2162"/>
                  </a:cubicBezTo>
                  <a:cubicBezTo>
                    <a:pt x="5575" y="2219"/>
                    <a:pt x="5591" y="2183"/>
                    <a:pt x="5594" y="2149"/>
                  </a:cubicBezTo>
                  <a:cubicBezTo>
                    <a:pt x="5593" y="2140"/>
                    <a:pt x="5593" y="2131"/>
                    <a:pt x="5592" y="2122"/>
                  </a:cubicBezTo>
                </a:path>
                <a:path w="7282" h="4686" extrusionOk="0">
                  <a:moveTo>
                    <a:pt x="5584" y="1781"/>
                  </a:moveTo>
                  <a:cubicBezTo>
                    <a:pt x="5581" y="1807"/>
                    <a:pt x="5578" y="1803"/>
                    <a:pt x="5607" y="1803"/>
                  </a:cubicBezTo>
                  <a:cubicBezTo>
                    <a:pt x="5579" y="1815"/>
                    <a:pt x="5562" y="1812"/>
                    <a:pt x="5532" y="1813"/>
                  </a:cubicBezTo>
                  <a:cubicBezTo>
                    <a:pt x="5488" y="1815"/>
                    <a:pt x="5444" y="1814"/>
                    <a:pt x="5400" y="1820"/>
                  </a:cubicBezTo>
                  <a:cubicBezTo>
                    <a:pt x="5370" y="1824"/>
                    <a:pt x="5334" y="1827"/>
                    <a:pt x="5305" y="1836"/>
                  </a:cubicBezTo>
                  <a:cubicBezTo>
                    <a:pt x="5298" y="1839"/>
                    <a:pt x="5291" y="1841"/>
                    <a:pt x="5284" y="1844"/>
                  </a:cubicBezTo>
                  <a:cubicBezTo>
                    <a:pt x="5309" y="1866"/>
                    <a:pt x="5335" y="1882"/>
                    <a:pt x="5362" y="1901"/>
                  </a:cubicBezTo>
                  <a:cubicBezTo>
                    <a:pt x="5387" y="1919"/>
                    <a:pt x="5412" y="1941"/>
                    <a:pt x="5435" y="1962"/>
                  </a:cubicBezTo>
                  <a:cubicBezTo>
                    <a:pt x="5458" y="1984"/>
                    <a:pt x="5482" y="2004"/>
                    <a:pt x="5504" y="2027"/>
                  </a:cubicBezTo>
                  <a:cubicBezTo>
                    <a:pt x="5473" y="2035"/>
                    <a:pt x="5443" y="2044"/>
                    <a:pt x="5412" y="2047"/>
                  </a:cubicBezTo>
                  <a:cubicBezTo>
                    <a:pt x="5355" y="2053"/>
                    <a:pt x="5270" y="2043"/>
                    <a:pt x="5224" y="2085"/>
                  </a:cubicBezTo>
                  <a:cubicBezTo>
                    <a:pt x="5209" y="2105"/>
                    <a:pt x="5204" y="2109"/>
                    <a:pt x="5200" y="2125"/>
                  </a:cubicBezTo>
                  <a:cubicBezTo>
                    <a:pt x="5222" y="2150"/>
                    <a:pt x="5239" y="2160"/>
                    <a:pt x="5270" y="2172"/>
                  </a:cubicBezTo>
                  <a:cubicBezTo>
                    <a:pt x="5321" y="2192"/>
                    <a:pt x="5370" y="2216"/>
                    <a:pt x="5422" y="2232"/>
                  </a:cubicBezTo>
                  <a:cubicBezTo>
                    <a:pt x="5444" y="2239"/>
                    <a:pt x="5465" y="2242"/>
                    <a:pt x="5487" y="2237"/>
                  </a:cubicBezTo>
                  <a:cubicBezTo>
                    <a:pt x="5523" y="2229"/>
                    <a:pt x="5536" y="2223"/>
                    <a:pt x="5567" y="2242"/>
                  </a:cubicBezTo>
                  <a:cubicBezTo>
                    <a:pt x="5588" y="2255"/>
                    <a:pt x="5605" y="2267"/>
                    <a:pt x="5627" y="2278"/>
                  </a:cubicBezTo>
                </a:path>
                <a:path w="7282" h="4686" extrusionOk="0">
                  <a:moveTo>
                    <a:pt x="3699" y="1349"/>
                  </a:moveTo>
                  <a:cubicBezTo>
                    <a:pt x="3666" y="1314"/>
                    <a:pt x="3658" y="1342"/>
                    <a:pt x="3638" y="1376"/>
                  </a:cubicBezTo>
                  <a:cubicBezTo>
                    <a:pt x="3612" y="1421"/>
                    <a:pt x="3604" y="1467"/>
                    <a:pt x="3603" y="1519"/>
                  </a:cubicBezTo>
                  <a:cubicBezTo>
                    <a:pt x="3601" y="1583"/>
                    <a:pt x="3615" y="1645"/>
                    <a:pt x="3653" y="1697"/>
                  </a:cubicBezTo>
                  <a:cubicBezTo>
                    <a:pt x="3690" y="1748"/>
                    <a:pt x="3749" y="1770"/>
                    <a:pt x="3811" y="1761"/>
                  </a:cubicBezTo>
                  <a:cubicBezTo>
                    <a:pt x="3882" y="1751"/>
                    <a:pt x="3939" y="1697"/>
                    <a:pt x="3981" y="1643"/>
                  </a:cubicBezTo>
                  <a:cubicBezTo>
                    <a:pt x="4020" y="1593"/>
                    <a:pt x="4052" y="1526"/>
                    <a:pt x="4041" y="1461"/>
                  </a:cubicBezTo>
                  <a:cubicBezTo>
                    <a:pt x="4030" y="1394"/>
                    <a:pt x="3972" y="1362"/>
                    <a:pt x="3913" y="1344"/>
                  </a:cubicBezTo>
                  <a:cubicBezTo>
                    <a:pt x="3853" y="1325"/>
                    <a:pt x="3771" y="1318"/>
                    <a:pt x="3709" y="1334"/>
                  </a:cubicBezTo>
                  <a:cubicBezTo>
                    <a:pt x="3649" y="1349"/>
                    <a:pt x="3726" y="1374"/>
                    <a:pt x="3734" y="1377"/>
                  </a:cubicBezTo>
                </a:path>
                <a:path w="7282" h="4686" extrusionOk="0">
                  <a:moveTo>
                    <a:pt x="3967" y="1810"/>
                  </a:moveTo>
                  <a:cubicBezTo>
                    <a:pt x="3951" y="1849"/>
                    <a:pt x="3947" y="1871"/>
                    <a:pt x="3962" y="1911"/>
                  </a:cubicBezTo>
                  <a:cubicBezTo>
                    <a:pt x="3972" y="1939"/>
                    <a:pt x="3988" y="1964"/>
                    <a:pt x="4016" y="1976"/>
                  </a:cubicBezTo>
                  <a:cubicBezTo>
                    <a:pt x="4044" y="1988"/>
                    <a:pt x="4074" y="1976"/>
                    <a:pt x="4097" y="1959"/>
                  </a:cubicBezTo>
                  <a:cubicBezTo>
                    <a:pt x="4131" y="1933"/>
                    <a:pt x="4147" y="1904"/>
                    <a:pt x="4116" y="1869"/>
                  </a:cubicBezTo>
                  <a:cubicBezTo>
                    <a:pt x="4099" y="1850"/>
                    <a:pt x="4066" y="1830"/>
                    <a:pt x="4044" y="1818"/>
                  </a:cubicBezTo>
                  <a:cubicBezTo>
                    <a:pt x="4018" y="1804"/>
                    <a:pt x="4002" y="1798"/>
                    <a:pt x="3974" y="1800"/>
                  </a:cubicBezTo>
                </a:path>
                <a:path w="7282" h="4686" extrusionOk="0">
                  <a:moveTo>
                    <a:pt x="3674" y="1956"/>
                  </a:moveTo>
                  <a:cubicBezTo>
                    <a:pt x="3642" y="1987"/>
                    <a:pt x="3624" y="2003"/>
                    <a:pt x="3633" y="2051"/>
                  </a:cubicBezTo>
                  <a:cubicBezTo>
                    <a:pt x="3638" y="2076"/>
                    <a:pt x="3653" y="2103"/>
                    <a:pt x="3676" y="2115"/>
                  </a:cubicBezTo>
                  <a:cubicBezTo>
                    <a:pt x="3712" y="2134"/>
                    <a:pt x="3751" y="2114"/>
                    <a:pt x="3783" y="2095"/>
                  </a:cubicBezTo>
                  <a:cubicBezTo>
                    <a:pt x="3828" y="2068"/>
                    <a:pt x="3890" y="2021"/>
                    <a:pt x="3903" y="1966"/>
                  </a:cubicBezTo>
                  <a:cubicBezTo>
                    <a:pt x="3913" y="1924"/>
                    <a:pt x="3885" y="1894"/>
                    <a:pt x="3849" y="1879"/>
                  </a:cubicBezTo>
                  <a:cubicBezTo>
                    <a:pt x="3805" y="1861"/>
                    <a:pt x="3735" y="1854"/>
                    <a:pt x="3689" y="1869"/>
                  </a:cubicBezTo>
                  <a:cubicBezTo>
                    <a:pt x="3600" y="1898"/>
                    <a:pt x="3739" y="1888"/>
                    <a:pt x="3749" y="1886"/>
                  </a:cubicBezTo>
                </a:path>
                <a:path w="7282" h="4686" extrusionOk="0">
                  <a:moveTo>
                    <a:pt x="4955" y="2910"/>
                  </a:moveTo>
                  <a:cubicBezTo>
                    <a:pt x="4984" y="2903"/>
                    <a:pt x="4979" y="2908"/>
                    <a:pt x="5009" y="2910"/>
                  </a:cubicBezTo>
                  <a:cubicBezTo>
                    <a:pt x="5051" y="2914"/>
                    <a:pt x="5092" y="2924"/>
                    <a:pt x="5134" y="2928"/>
                  </a:cubicBezTo>
                  <a:cubicBezTo>
                    <a:pt x="5184" y="2933"/>
                    <a:pt x="5232" y="2938"/>
                    <a:pt x="5282" y="2938"/>
                  </a:cubicBezTo>
                  <a:cubicBezTo>
                    <a:pt x="5317" y="2938"/>
                    <a:pt x="5350" y="2936"/>
                    <a:pt x="5384" y="2931"/>
                  </a:cubicBezTo>
                  <a:cubicBezTo>
                    <a:pt x="5399" y="2930"/>
                    <a:pt x="5405" y="2930"/>
                    <a:pt x="5414" y="2925"/>
                  </a:cubicBezTo>
                  <a:cubicBezTo>
                    <a:pt x="5392" y="2896"/>
                    <a:pt x="5382" y="2891"/>
                    <a:pt x="5374" y="2853"/>
                  </a:cubicBezTo>
                  <a:cubicBezTo>
                    <a:pt x="5357" y="2773"/>
                    <a:pt x="5363" y="2685"/>
                    <a:pt x="5367" y="2604"/>
                  </a:cubicBezTo>
                  <a:cubicBezTo>
                    <a:pt x="5367" y="2586"/>
                    <a:pt x="5367" y="2581"/>
                    <a:pt x="5369" y="2569"/>
                  </a:cubicBezTo>
                  <a:cubicBezTo>
                    <a:pt x="5383" y="2600"/>
                    <a:pt x="5396" y="2627"/>
                    <a:pt x="5415" y="2656"/>
                  </a:cubicBezTo>
                  <a:cubicBezTo>
                    <a:pt x="5458" y="2722"/>
                    <a:pt x="5508" y="2783"/>
                    <a:pt x="5549" y="2850"/>
                  </a:cubicBezTo>
                  <a:cubicBezTo>
                    <a:pt x="5574" y="2891"/>
                    <a:pt x="5593" y="2934"/>
                    <a:pt x="5615" y="2976"/>
                  </a:cubicBezTo>
                  <a:cubicBezTo>
                    <a:pt x="5631" y="3007"/>
                    <a:pt x="5651" y="3044"/>
                    <a:pt x="5679" y="3066"/>
                  </a:cubicBezTo>
                  <a:cubicBezTo>
                    <a:pt x="5705" y="3086"/>
                    <a:pt x="5731" y="3101"/>
                    <a:pt x="5764" y="3104"/>
                  </a:cubicBezTo>
                  <a:cubicBezTo>
                    <a:pt x="5810" y="3108"/>
                    <a:pt x="5805" y="3083"/>
                    <a:pt x="5822" y="3064"/>
                  </a:cubicBezTo>
                  <a:cubicBezTo>
                    <a:pt x="5773" y="3059"/>
                    <a:pt x="5752" y="3060"/>
                    <a:pt x="5704" y="3086"/>
                  </a:cubicBezTo>
                  <a:cubicBezTo>
                    <a:pt x="5592" y="3145"/>
                    <a:pt x="5500" y="3234"/>
                    <a:pt x="5404" y="3315"/>
                  </a:cubicBezTo>
                  <a:cubicBezTo>
                    <a:pt x="5385" y="3331"/>
                    <a:pt x="5340" y="3360"/>
                    <a:pt x="5340" y="3388"/>
                  </a:cubicBezTo>
                  <a:cubicBezTo>
                    <a:pt x="5337" y="3405"/>
                    <a:pt x="5336" y="3411"/>
                    <a:pt x="5352" y="3413"/>
                  </a:cubicBezTo>
                  <a:cubicBezTo>
                    <a:pt x="5363" y="3385"/>
                    <a:pt x="5382" y="3356"/>
                    <a:pt x="5389" y="3327"/>
                  </a:cubicBezTo>
                  <a:cubicBezTo>
                    <a:pt x="5395" y="3305"/>
                    <a:pt x="5402" y="3270"/>
                    <a:pt x="5400" y="3247"/>
                  </a:cubicBezTo>
                  <a:cubicBezTo>
                    <a:pt x="5396" y="3202"/>
                    <a:pt x="5395" y="3218"/>
                    <a:pt x="5415" y="3182"/>
                  </a:cubicBezTo>
                  <a:cubicBezTo>
                    <a:pt x="5391" y="3182"/>
                    <a:pt x="5363" y="3180"/>
                    <a:pt x="5337" y="3182"/>
                  </a:cubicBezTo>
                  <a:cubicBezTo>
                    <a:pt x="5300" y="3184"/>
                    <a:pt x="5274" y="3195"/>
                    <a:pt x="5240" y="3209"/>
                  </a:cubicBezTo>
                  <a:cubicBezTo>
                    <a:pt x="5210" y="3222"/>
                    <a:pt x="5185" y="3242"/>
                    <a:pt x="5157" y="3256"/>
                  </a:cubicBezTo>
                  <a:cubicBezTo>
                    <a:pt x="5150" y="3259"/>
                    <a:pt x="5142" y="3261"/>
                    <a:pt x="5135" y="3264"/>
                  </a:cubicBezTo>
                  <a:cubicBezTo>
                    <a:pt x="5153" y="3249"/>
                    <a:pt x="5164" y="3234"/>
                    <a:pt x="5199" y="3221"/>
                  </a:cubicBezTo>
                </a:path>
                <a:path w="7282" h="4686" extrusionOk="0">
                  <a:moveTo>
                    <a:pt x="1502" y="3448"/>
                  </a:moveTo>
                  <a:cubicBezTo>
                    <a:pt x="1536" y="3442"/>
                    <a:pt x="1510" y="3427"/>
                    <a:pt x="1573" y="3465"/>
                  </a:cubicBezTo>
                  <a:cubicBezTo>
                    <a:pt x="1725" y="3555"/>
                    <a:pt x="1868" y="3669"/>
                    <a:pt x="1983" y="3804"/>
                  </a:cubicBezTo>
                  <a:cubicBezTo>
                    <a:pt x="2049" y="3881"/>
                    <a:pt x="2094" y="3972"/>
                    <a:pt x="2116" y="4070"/>
                  </a:cubicBezTo>
                  <a:cubicBezTo>
                    <a:pt x="2134" y="4148"/>
                    <a:pt x="2125" y="4217"/>
                    <a:pt x="2116" y="4294"/>
                  </a:cubicBezTo>
                  <a:cubicBezTo>
                    <a:pt x="2105" y="4384"/>
                    <a:pt x="2088" y="4330"/>
                    <a:pt x="2080" y="4276"/>
                  </a:cubicBezTo>
                </a:path>
                <a:path w="7282" h="4686" extrusionOk="0">
                  <a:moveTo>
                    <a:pt x="1966" y="3212"/>
                  </a:moveTo>
                  <a:cubicBezTo>
                    <a:pt x="1955" y="3196"/>
                    <a:pt x="1951" y="3190"/>
                    <a:pt x="1936" y="3189"/>
                  </a:cubicBezTo>
                  <a:cubicBezTo>
                    <a:pt x="1964" y="3213"/>
                    <a:pt x="1973" y="3215"/>
                    <a:pt x="2006" y="3232"/>
                  </a:cubicBezTo>
                  <a:cubicBezTo>
                    <a:pt x="2113" y="3288"/>
                    <a:pt x="2208" y="3366"/>
                    <a:pt x="2300" y="3445"/>
                  </a:cubicBezTo>
                  <a:cubicBezTo>
                    <a:pt x="2387" y="3520"/>
                    <a:pt x="2478" y="3610"/>
                    <a:pt x="2531" y="3713"/>
                  </a:cubicBezTo>
                  <a:cubicBezTo>
                    <a:pt x="2554" y="3757"/>
                    <a:pt x="2571" y="3820"/>
                    <a:pt x="2553" y="3869"/>
                  </a:cubicBezTo>
                  <a:cubicBezTo>
                    <a:pt x="2540" y="3904"/>
                    <a:pt x="2520" y="3897"/>
                    <a:pt x="2490" y="3897"/>
                  </a:cubicBezTo>
                </a:path>
                <a:path w="7282" h="4686" extrusionOk="0">
                  <a:moveTo>
                    <a:pt x="2160" y="2742"/>
                  </a:moveTo>
                  <a:cubicBezTo>
                    <a:pt x="2140" y="2736"/>
                    <a:pt x="2127" y="2735"/>
                    <a:pt x="2108" y="2732"/>
                  </a:cubicBezTo>
                  <a:cubicBezTo>
                    <a:pt x="2156" y="2746"/>
                    <a:pt x="2203" y="2761"/>
                    <a:pt x="2251" y="2774"/>
                  </a:cubicBezTo>
                  <a:cubicBezTo>
                    <a:pt x="2396" y="2814"/>
                    <a:pt x="2570" y="2849"/>
                    <a:pt x="2690" y="2945"/>
                  </a:cubicBezTo>
                  <a:cubicBezTo>
                    <a:pt x="2777" y="3015"/>
                    <a:pt x="2800" y="3113"/>
                    <a:pt x="2793" y="3221"/>
                  </a:cubicBezTo>
                  <a:cubicBezTo>
                    <a:pt x="2786" y="3329"/>
                    <a:pt x="2747" y="3429"/>
                    <a:pt x="2713" y="3530"/>
                  </a:cubicBezTo>
                </a:path>
                <a:path w="7282" h="4686" extrusionOk="0">
                  <a:moveTo>
                    <a:pt x="437" y="2024"/>
                  </a:moveTo>
                  <a:cubicBezTo>
                    <a:pt x="407" y="2021"/>
                    <a:pt x="397" y="1997"/>
                    <a:pt x="362" y="2036"/>
                  </a:cubicBezTo>
                  <a:cubicBezTo>
                    <a:pt x="322" y="2081"/>
                    <a:pt x="303" y="2150"/>
                    <a:pt x="294" y="2208"/>
                  </a:cubicBezTo>
                  <a:cubicBezTo>
                    <a:pt x="279" y="2305"/>
                    <a:pt x="283" y="2408"/>
                    <a:pt x="305" y="2504"/>
                  </a:cubicBezTo>
                  <a:cubicBezTo>
                    <a:pt x="329" y="2610"/>
                    <a:pt x="377" y="2718"/>
                    <a:pt x="450" y="2800"/>
                  </a:cubicBezTo>
                  <a:cubicBezTo>
                    <a:pt x="514" y="2872"/>
                    <a:pt x="595" y="2918"/>
                    <a:pt x="687" y="2941"/>
                  </a:cubicBezTo>
                  <a:cubicBezTo>
                    <a:pt x="746" y="2956"/>
                    <a:pt x="812" y="2960"/>
                    <a:pt x="872" y="2950"/>
                  </a:cubicBezTo>
                  <a:cubicBezTo>
                    <a:pt x="908" y="2944"/>
                    <a:pt x="929" y="2940"/>
                    <a:pt x="915" y="2898"/>
                  </a:cubicBezTo>
                  <a:cubicBezTo>
                    <a:pt x="906" y="2877"/>
                    <a:pt x="901" y="2868"/>
                    <a:pt x="892" y="2855"/>
                  </a:cubicBezTo>
                </a:path>
                <a:path w="7282" h="4686" extrusionOk="0">
                  <a:moveTo>
                    <a:pt x="509" y="1992"/>
                  </a:moveTo>
                  <a:cubicBezTo>
                    <a:pt x="478" y="2007"/>
                    <a:pt x="442" y="2018"/>
                    <a:pt x="415" y="2046"/>
                  </a:cubicBezTo>
                  <a:cubicBezTo>
                    <a:pt x="371" y="2091"/>
                    <a:pt x="326" y="2142"/>
                    <a:pt x="292" y="2197"/>
                  </a:cubicBezTo>
                  <a:cubicBezTo>
                    <a:pt x="240" y="2282"/>
                    <a:pt x="201" y="2374"/>
                    <a:pt x="179" y="2471"/>
                  </a:cubicBezTo>
                  <a:cubicBezTo>
                    <a:pt x="140" y="2646"/>
                    <a:pt x="142" y="2859"/>
                    <a:pt x="234" y="3018"/>
                  </a:cubicBezTo>
                  <a:cubicBezTo>
                    <a:pt x="296" y="3125"/>
                    <a:pt x="415" y="3188"/>
                    <a:pt x="537" y="3189"/>
                  </a:cubicBezTo>
                  <a:cubicBezTo>
                    <a:pt x="618" y="3189"/>
                    <a:pt x="696" y="3162"/>
                    <a:pt x="770" y="3131"/>
                  </a:cubicBezTo>
                  <a:cubicBezTo>
                    <a:pt x="804" y="3117"/>
                    <a:pt x="850" y="3072"/>
                    <a:pt x="880" y="3063"/>
                  </a:cubicBezTo>
                  <a:cubicBezTo>
                    <a:pt x="896" y="3063"/>
                    <a:pt x="902" y="3063"/>
                    <a:pt x="913" y="3066"/>
                  </a:cubicBezTo>
                </a:path>
                <a:path w="7282" h="4686" extrusionOk="0">
                  <a:moveTo>
                    <a:pt x="962" y="2916"/>
                  </a:moveTo>
                  <a:cubicBezTo>
                    <a:pt x="922" y="2933"/>
                    <a:pt x="890" y="2960"/>
                    <a:pt x="868" y="3000"/>
                  </a:cubicBezTo>
                  <a:cubicBezTo>
                    <a:pt x="841" y="3050"/>
                    <a:pt x="816" y="3114"/>
                    <a:pt x="822" y="3172"/>
                  </a:cubicBezTo>
                  <a:cubicBezTo>
                    <a:pt x="834" y="3280"/>
                    <a:pt x="933" y="3318"/>
                    <a:pt x="1025" y="3345"/>
                  </a:cubicBezTo>
                  <a:cubicBezTo>
                    <a:pt x="1137" y="3378"/>
                    <a:pt x="1256" y="3389"/>
                    <a:pt x="1372" y="3398"/>
                  </a:cubicBezTo>
                  <a:cubicBezTo>
                    <a:pt x="1473" y="3406"/>
                    <a:pt x="1581" y="3412"/>
                    <a:pt x="1678" y="3378"/>
                  </a:cubicBezTo>
                  <a:cubicBezTo>
                    <a:pt x="1781" y="3342"/>
                    <a:pt x="1838" y="3243"/>
                    <a:pt x="1860" y="3141"/>
                  </a:cubicBezTo>
                  <a:cubicBezTo>
                    <a:pt x="1873" y="3082"/>
                    <a:pt x="1871" y="3007"/>
                    <a:pt x="1837" y="2955"/>
                  </a:cubicBezTo>
                  <a:cubicBezTo>
                    <a:pt x="1816" y="2922"/>
                    <a:pt x="1806" y="2937"/>
                    <a:pt x="1780" y="2931"/>
                  </a:cubicBezTo>
                  <a:cubicBezTo>
                    <a:pt x="1798" y="2952"/>
                    <a:pt x="1815" y="2975"/>
                    <a:pt x="1837" y="2996"/>
                  </a:cubicBezTo>
                </a:path>
                <a:path w="7282" h="4686" extrusionOk="0">
                  <a:moveTo>
                    <a:pt x="990" y="2971"/>
                  </a:moveTo>
                  <a:cubicBezTo>
                    <a:pt x="970" y="2999"/>
                    <a:pt x="950" y="3024"/>
                    <a:pt x="942" y="3059"/>
                  </a:cubicBezTo>
                  <a:cubicBezTo>
                    <a:pt x="931" y="3109"/>
                    <a:pt x="924" y="3176"/>
                    <a:pt x="938" y="3226"/>
                  </a:cubicBezTo>
                  <a:cubicBezTo>
                    <a:pt x="959" y="3301"/>
                    <a:pt x="1018" y="3350"/>
                    <a:pt x="1090" y="3375"/>
                  </a:cubicBezTo>
                  <a:cubicBezTo>
                    <a:pt x="1198" y="3413"/>
                    <a:pt x="1325" y="3403"/>
                    <a:pt x="1435" y="3378"/>
                  </a:cubicBezTo>
                  <a:cubicBezTo>
                    <a:pt x="1558" y="3350"/>
                    <a:pt x="1674" y="3290"/>
                    <a:pt x="1773" y="3212"/>
                  </a:cubicBezTo>
                  <a:cubicBezTo>
                    <a:pt x="1839" y="3160"/>
                    <a:pt x="1898" y="3094"/>
                    <a:pt x="1905" y="3006"/>
                  </a:cubicBezTo>
                  <a:cubicBezTo>
                    <a:pt x="1909" y="2955"/>
                    <a:pt x="1881" y="2907"/>
                    <a:pt x="1845" y="2873"/>
                  </a:cubicBezTo>
                  <a:cubicBezTo>
                    <a:pt x="1837" y="2866"/>
                    <a:pt x="1750" y="2814"/>
                    <a:pt x="1810" y="2863"/>
                  </a:cubicBezTo>
                  <a:cubicBezTo>
                    <a:pt x="1817" y="2867"/>
                    <a:pt x="1823" y="2871"/>
                    <a:pt x="1830" y="2875"/>
                  </a:cubicBezTo>
                </a:path>
                <a:path w="7282" h="4686" extrusionOk="0">
                  <a:moveTo>
                    <a:pt x="2000" y="3049"/>
                  </a:moveTo>
                  <a:cubicBezTo>
                    <a:pt x="1989" y="3074"/>
                    <a:pt x="1959" y="3124"/>
                    <a:pt x="1998" y="3144"/>
                  </a:cubicBezTo>
                  <a:cubicBezTo>
                    <a:pt x="2045" y="3168"/>
                    <a:pt x="2133" y="3128"/>
                    <a:pt x="2173" y="3106"/>
                  </a:cubicBezTo>
                  <a:cubicBezTo>
                    <a:pt x="2249" y="3064"/>
                    <a:pt x="2323" y="3002"/>
                    <a:pt x="2373" y="2931"/>
                  </a:cubicBezTo>
                  <a:cubicBezTo>
                    <a:pt x="2403" y="2888"/>
                    <a:pt x="2436" y="2819"/>
                    <a:pt x="2395" y="2772"/>
                  </a:cubicBezTo>
                  <a:cubicBezTo>
                    <a:pt x="2353" y="2723"/>
                    <a:pt x="2261" y="2712"/>
                    <a:pt x="2203" y="2702"/>
                  </a:cubicBezTo>
                  <a:cubicBezTo>
                    <a:pt x="2143" y="2691"/>
                    <a:pt x="1977" y="2728"/>
                    <a:pt x="2020" y="2685"/>
                  </a:cubicBezTo>
                  <a:cubicBezTo>
                    <a:pt x="2038" y="2667"/>
                    <a:pt x="2109" y="2683"/>
                    <a:pt x="2131" y="2684"/>
                  </a:cubicBezTo>
                </a:path>
                <a:path w="7282" h="4686" extrusionOk="0">
                  <a:moveTo>
                    <a:pt x="1948" y="3182"/>
                  </a:moveTo>
                  <a:cubicBezTo>
                    <a:pt x="1975" y="3171"/>
                    <a:pt x="2002" y="3158"/>
                    <a:pt x="2030" y="3151"/>
                  </a:cubicBezTo>
                  <a:cubicBezTo>
                    <a:pt x="2074" y="3140"/>
                    <a:pt x="2119" y="3139"/>
                    <a:pt x="2163" y="3133"/>
                  </a:cubicBezTo>
                  <a:cubicBezTo>
                    <a:pt x="2221" y="3125"/>
                    <a:pt x="2252" y="3101"/>
                    <a:pt x="2295" y="3064"/>
                  </a:cubicBezTo>
                  <a:cubicBezTo>
                    <a:pt x="2331" y="3033"/>
                    <a:pt x="2357" y="2987"/>
                    <a:pt x="2351" y="2936"/>
                  </a:cubicBezTo>
                  <a:cubicBezTo>
                    <a:pt x="2344" y="2880"/>
                    <a:pt x="2288" y="2852"/>
                    <a:pt x="2241" y="2835"/>
                  </a:cubicBezTo>
                  <a:cubicBezTo>
                    <a:pt x="2181" y="2814"/>
                    <a:pt x="2119" y="2809"/>
                    <a:pt x="2056" y="2808"/>
                  </a:cubicBezTo>
                  <a:cubicBezTo>
                    <a:pt x="2009" y="2807"/>
                    <a:pt x="2021" y="2820"/>
                    <a:pt x="2046" y="2832"/>
                  </a:cubicBezTo>
                </a:path>
                <a:path w="7282" h="4686" extrusionOk="0">
                  <a:moveTo>
                    <a:pt x="1930" y="2685"/>
                  </a:moveTo>
                  <a:cubicBezTo>
                    <a:pt x="1980" y="2696"/>
                    <a:pt x="2015" y="2692"/>
                    <a:pt x="2066" y="2680"/>
                  </a:cubicBezTo>
                  <a:cubicBezTo>
                    <a:pt x="2145" y="2661"/>
                    <a:pt x="2220" y="2633"/>
                    <a:pt x="2283" y="2581"/>
                  </a:cubicBezTo>
                  <a:cubicBezTo>
                    <a:pt x="2360" y="2518"/>
                    <a:pt x="2432" y="2434"/>
                    <a:pt x="2476" y="2345"/>
                  </a:cubicBezTo>
                  <a:cubicBezTo>
                    <a:pt x="2522" y="2252"/>
                    <a:pt x="2551" y="2141"/>
                    <a:pt x="2553" y="2037"/>
                  </a:cubicBezTo>
                  <a:cubicBezTo>
                    <a:pt x="2555" y="1903"/>
                    <a:pt x="2509" y="1755"/>
                    <a:pt x="2410" y="1662"/>
                  </a:cubicBezTo>
                  <a:cubicBezTo>
                    <a:pt x="2355" y="1610"/>
                    <a:pt x="2290" y="1606"/>
                    <a:pt x="2225" y="1642"/>
                  </a:cubicBezTo>
                  <a:cubicBezTo>
                    <a:pt x="2194" y="1660"/>
                    <a:pt x="2147" y="1695"/>
                    <a:pt x="2145" y="1735"/>
                  </a:cubicBezTo>
                  <a:cubicBezTo>
                    <a:pt x="2151" y="1752"/>
                    <a:pt x="2154" y="1758"/>
                    <a:pt x="2160" y="1768"/>
                  </a:cubicBezTo>
                  <a:cubicBezTo>
                    <a:pt x="2200" y="1779"/>
                    <a:pt x="2233" y="1784"/>
                    <a:pt x="2275" y="1783"/>
                  </a:cubicBezTo>
                  <a:cubicBezTo>
                    <a:pt x="2349" y="1782"/>
                    <a:pt x="2438" y="1768"/>
                    <a:pt x="2508" y="1800"/>
                  </a:cubicBezTo>
                  <a:cubicBezTo>
                    <a:pt x="2575" y="1830"/>
                    <a:pt x="2571" y="1902"/>
                    <a:pt x="2558" y="1964"/>
                  </a:cubicBezTo>
                  <a:cubicBezTo>
                    <a:pt x="2532" y="2086"/>
                    <a:pt x="2467" y="2201"/>
                    <a:pt x="2410" y="2311"/>
                  </a:cubicBezTo>
                  <a:cubicBezTo>
                    <a:pt x="2350" y="2427"/>
                    <a:pt x="2287" y="2541"/>
                    <a:pt x="2216" y="2651"/>
                  </a:cubicBezTo>
                  <a:cubicBezTo>
                    <a:pt x="2192" y="2688"/>
                    <a:pt x="2151" y="2769"/>
                    <a:pt x="2098" y="2774"/>
                  </a:cubicBezTo>
                  <a:cubicBezTo>
                    <a:pt x="2066" y="2777"/>
                    <a:pt x="2030" y="2739"/>
                    <a:pt x="2016" y="2714"/>
                  </a:cubicBezTo>
                  <a:cubicBezTo>
                    <a:pt x="1998" y="2681"/>
                    <a:pt x="1992" y="2666"/>
                    <a:pt x="2005" y="2631"/>
                  </a:cubicBezTo>
                  <a:cubicBezTo>
                    <a:pt x="2020" y="2590"/>
                    <a:pt x="2096" y="2579"/>
                    <a:pt x="2128" y="2561"/>
                  </a:cubicBezTo>
                  <a:cubicBezTo>
                    <a:pt x="2184" y="2530"/>
                    <a:pt x="2246" y="2493"/>
                    <a:pt x="2293" y="2449"/>
                  </a:cubicBezTo>
                  <a:cubicBezTo>
                    <a:pt x="2303" y="2438"/>
                    <a:pt x="2313" y="2426"/>
                    <a:pt x="2323" y="2415"/>
                  </a:cubicBezTo>
                </a:path>
                <a:path w="7282" h="4686" extrusionOk="0">
                  <a:moveTo>
                    <a:pt x="1973" y="1343"/>
                  </a:moveTo>
                  <a:cubicBezTo>
                    <a:pt x="2014" y="1382"/>
                    <a:pt x="2059" y="1405"/>
                    <a:pt x="2106" y="1436"/>
                  </a:cubicBezTo>
                  <a:cubicBezTo>
                    <a:pt x="2169" y="1478"/>
                    <a:pt x="2234" y="1525"/>
                    <a:pt x="2273" y="1592"/>
                  </a:cubicBezTo>
                  <a:cubicBezTo>
                    <a:pt x="2311" y="1657"/>
                    <a:pt x="2295" y="1725"/>
                    <a:pt x="2255" y="1785"/>
                  </a:cubicBezTo>
                  <a:cubicBezTo>
                    <a:pt x="2211" y="1851"/>
                    <a:pt x="2151" y="1902"/>
                    <a:pt x="2078" y="1933"/>
                  </a:cubicBezTo>
                  <a:cubicBezTo>
                    <a:pt x="2030" y="1948"/>
                    <a:pt x="2018" y="1952"/>
                    <a:pt x="1986" y="1956"/>
                  </a:cubicBezTo>
                </a:path>
                <a:path w="7282" h="4686" extrusionOk="0">
                  <a:moveTo>
                    <a:pt x="532" y="1909"/>
                  </a:moveTo>
                  <a:cubicBezTo>
                    <a:pt x="501" y="1909"/>
                    <a:pt x="481" y="1901"/>
                    <a:pt x="449" y="1921"/>
                  </a:cubicBezTo>
                  <a:cubicBezTo>
                    <a:pt x="406" y="1948"/>
                    <a:pt x="371" y="2024"/>
                    <a:pt x="354" y="2069"/>
                  </a:cubicBezTo>
                  <a:cubicBezTo>
                    <a:pt x="273" y="2279"/>
                    <a:pt x="250" y="2542"/>
                    <a:pt x="290" y="2762"/>
                  </a:cubicBezTo>
                  <a:cubicBezTo>
                    <a:pt x="310" y="2873"/>
                    <a:pt x="354" y="2994"/>
                    <a:pt x="465" y="3043"/>
                  </a:cubicBezTo>
                  <a:cubicBezTo>
                    <a:pt x="618" y="3111"/>
                    <a:pt x="843" y="3031"/>
                    <a:pt x="967" y="2935"/>
                  </a:cubicBezTo>
                  <a:cubicBezTo>
                    <a:pt x="1007" y="2904"/>
                    <a:pt x="1050" y="2867"/>
                    <a:pt x="1065" y="2817"/>
                  </a:cubicBezTo>
                  <a:cubicBezTo>
                    <a:pt x="1067" y="2797"/>
                    <a:pt x="1068" y="2790"/>
                    <a:pt x="1065" y="2777"/>
                  </a:cubicBezTo>
                </a:path>
                <a:path w="7282" h="4686" extrusionOk="0">
                  <a:moveTo>
                    <a:pt x="12" y="30"/>
                  </a:moveTo>
                  <a:cubicBezTo>
                    <a:pt x="-8" y="-7"/>
                    <a:pt x="10" y="0"/>
                    <a:pt x="40" y="15"/>
                  </a:cubicBezTo>
                </a:path>
                <a:path w="7282" h="4686" extrusionOk="0">
                  <a:moveTo>
                    <a:pt x="119" y="517"/>
                  </a:moveTo>
                  <a:cubicBezTo>
                    <a:pt x="112" y="514"/>
                    <a:pt x="104" y="510"/>
                    <a:pt x="97" y="507"/>
                  </a:cubicBezTo>
                  <a:cubicBezTo>
                    <a:pt x="99" y="546"/>
                    <a:pt x="120" y="534"/>
                    <a:pt x="157" y="523"/>
                  </a:cubicBezTo>
                </a:path>
                <a:path w="7282" h="4686" extrusionOk="0">
                  <a:moveTo>
                    <a:pt x="1890" y="387"/>
                  </a:moveTo>
                  <a:cubicBezTo>
                    <a:pt x="1887" y="380"/>
                    <a:pt x="1883" y="374"/>
                    <a:pt x="1880" y="367"/>
                  </a:cubicBezTo>
                  <a:cubicBezTo>
                    <a:pt x="1913" y="355"/>
                    <a:pt x="1914" y="368"/>
                    <a:pt x="1926" y="400"/>
                  </a:cubicBezTo>
                </a:path>
                <a:path w="7282" h="4686" extrusionOk="0">
                  <a:moveTo>
                    <a:pt x="2210" y="440"/>
                  </a:moveTo>
                  <a:cubicBezTo>
                    <a:pt x="2237" y="455"/>
                    <a:pt x="2257" y="460"/>
                    <a:pt x="2286" y="462"/>
                  </a:cubicBezTo>
                  <a:cubicBezTo>
                    <a:pt x="2330" y="465"/>
                    <a:pt x="2374" y="459"/>
                    <a:pt x="2418" y="460"/>
                  </a:cubicBezTo>
                  <a:cubicBezTo>
                    <a:pt x="2485" y="461"/>
                    <a:pt x="2556" y="466"/>
                    <a:pt x="2616" y="498"/>
                  </a:cubicBezTo>
                  <a:cubicBezTo>
                    <a:pt x="2655" y="519"/>
                    <a:pt x="2692" y="552"/>
                    <a:pt x="2725" y="581"/>
                  </a:cubicBezTo>
                  <a:cubicBezTo>
                    <a:pt x="2742" y="597"/>
                    <a:pt x="2746" y="601"/>
                    <a:pt x="2758" y="610"/>
                  </a:cubicBezTo>
                </a:path>
                <a:path w="7282" h="4686" extrusionOk="0">
                  <a:moveTo>
                    <a:pt x="2091" y="857"/>
                  </a:moveTo>
                  <a:cubicBezTo>
                    <a:pt x="2073" y="856"/>
                    <a:pt x="2070" y="855"/>
                    <a:pt x="2095" y="851"/>
                  </a:cubicBezTo>
                </a:path>
                <a:path w="7282" h="4686" extrusionOk="0">
                  <a:moveTo>
                    <a:pt x="2163" y="806"/>
                  </a:moveTo>
                  <a:cubicBezTo>
                    <a:pt x="2192" y="793"/>
                    <a:pt x="2215" y="785"/>
                    <a:pt x="2246" y="787"/>
                  </a:cubicBezTo>
                  <a:cubicBezTo>
                    <a:pt x="2286" y="789"/>
                    <a:pt x="2326" y="789"/>
                    <a:pt x="2366" y="794"/>
                  </a:cubicBezTo>
                  <a:cubicBezTo>
                    <a:pt x="2417" y="800"/>
                    <a:pt x="2466" y="809"/>
                    <a:pt x="2516" y="821"/>
                  </a:cubicBezTo>
                  <a:cubicBezTo>
                    <a:pt x="2570" y="834"/>
                    <a:pt x="2625" y="846"/>
                    <a:pt x="2678" y="862"/>
                  </a:cubicBezTo>
                  <a:cubicBezTo>
                    <a:pt x="2714" y="873"/>
                    <a:pt x="2748" y="887"/>
                    <a:pt x="2780" y="905"/>
                  </a:cubicBezTo>
                  <a:cubicBezTo>
                    <a:pt x="2750" y="923"/>
                    <a:pt x="2750" y="921"/>
                    <a:pt x="2716" y="907"/>
                  </a:cubicBezTo>
                </a:path>
                <a:path w="7282" h="4686" extrusionOk="0">
                  <a:moveTo>
                    <a:pt x="1862" y="822"/>
                  </a:moveTo>
                  <a:cubicBezTo>
                    <a:pt x="1847" y="789"/>
                    <a:pt x="1854" y="786"/>
                    <a:pt x="1891" y="782"/>
                  </a:cubicBezTo>
                  <a:cubicBezTo>
                    <a:pt x="1922" y="779"/>
                    <a:pt x="1929" y="779"/>
                    <a:pt x="1948" y="776"/>
                  </a:cubicBezTo>
                </a:path>
                <a:path w="7282" h="4686" extrusionOk="0">
                  <a:moveTo>
                    <a:pt x="3719" y="997"/>
                  </a:moveTo>
                  <a:cubicBezTo>
                    <a:pt x="3669" y="955"/>
                    <a:pt x="3657" y="933"/>
                    <a:pt x="3588" y="939"/>
                  </a:cubicBezTo>
                  <a:cubicBezTo>
                    <a:pt x="3523" y="945"/>
                    <a:pt x="3470" y="1029"/>
                    <a:pt x="3443" y="1078"/>
                  </a:cubicBezTo>
                  <a:cubicBezTo>
                    <a:pt x="3383" y="1188"/>
                    <a:pt x="3359" y="1319"/>
                    <a:pt x="3343" y="1442"/>
                  </a:cubicBezTo>
                  <a:cubicBezTo>
                    <a:pt x="3318" y="1640"/>
                    <a:pt x="3306" y="1914"/>
                    <a:pt x="3458" y="2070"/>
                  </a:cubicBezTo>
                  <a:cubicBezTo>
                    <a:pt x="3590" y="2205"/>
                    <a:pt x="3819" y="2203"/>
                    <a:pt x="3989" y="2170"/>
                  </a:cubicBezTo>
                  <a:cubicBezTo>
                    <a:pt x="4140" y="2140"/>
                    <a:pt x="4294" y="2074"/>
                    <a:pt x="4406" y="1967"/>
                  </a:cubicBezTo>
                  <a:cubicBezTo>
                    <a:pt x="4492" y="1885"/>
                    <a:pt x="4548" y="1762"/>
                    <a:pt x="4534" y="1642"/>
                  </a:cubicBezTo>
                  <a:cubicBezTo>
                    <a:pt x="4518" y="1502"/>
                    <a:pt x="4414" y="1408"/>
                    <a:pt x="4299" y="1341"/>
                  </a:cubicBezTo>
                  <a:cubicBezTo>
                    <a:pt x="4174" y="1268"/>
                    <a:pt x="4029" y="1230"/>
                    <a:pt x="3886" y="1215"/>
                  </a:cubicBezTo>
                  <a:cubicBezTo>
                    <a:pt x="3846" y="1211"/>
                    <a:pt x="3723" y="1199"/>
                    <a:pt x="3789" y="1261"/>
                  </a:cubicBezTo>
                  <a:cubicBezTo>
                    <a:pt x="3805" y="1269"/>
                    <a:pt x="3822" y="1276"/>
                    <a:pt x="3838" y="1284"/>
                  </a:cubicBezTo>
                </a:path>
                <a:path w="7282" h="4686" extrusionOk="0">
                  <a:moveTo>
                    <a:pt x="3808" y="4299"/>
                  </a:moveTo>
                  <a:cubicBezTo>
                    <a:pt x="3834" y="4286"/>
                    <a:pt x="3835" y="4319"/>
                    <a:pt x="3839" y="4354"/>
                  </a:cubicBezTo>
                  <a:cubicBezTo>
                    <a:pt x="3844" y="4399"/>
                    <a:pt x="3842" y="4447"/>
                    <a:pt x="3849" y="4492"/>
                  </a:cubicBezTo>
                  <a:cubicBezTo>
                    <a:pt x="3855" y="4534"/>
                    <a:pt x="3864" y="4582"/>
                    <a:pt x="3879" y="4622"/>
                  </a:cubicBezTo>
                  <a:cubicBezTo>
                    <a:pt x="3889" y="4640"/>
                    <a:pt x="3893" y="4647"/>
                    <a:pt x="3903" y="4657"/>
                  </a:cubicBezTo>
                </a:path>
                <a:path w="7282" h="4686" extrusionOk="0">
                  <a:moveTo>
                    <a:pt x="3863" y="4211"/>
                  </a:moveTo>
                  <a:cubicBezTo>
                    <a:pt x="3864" y="4175"/>
                    <a:pt x="3858" y="4154"/>
                    <a:pt x="3898" y="4143"/>
                  </a:cubicBezTo>
                  <a:cubicBezTo>
                    <a:pt x="3933" y="4134"/>
                    <a:pt x="3975" y="4134"/>
                    <a:pt x="4011" y="4130"/>
                  </a:cubicBezTo>
                  <a:cubicBezTo>
                    <a:pt x="4083" y="4122"/>
                    <a:pt x="4154" y="4107"/>
                    <a:pt x="4226" y="4100"/>
                  </a:cubicBezTo>
                  <a:cubicBezTo>
                    <a:pt x="4263" y="4096"/>
                    <a:pt x="4297" y="4094"/>
                    <a:pt x="4302" y="4140"/>
                  </a:cubicBezTo>
                  <a:cubicBezTo>
                    <a:pt x="4308" y="4195"/>
                    <a:pt x="4283" y="4253"/>
                    <a:pt x="4269" y="4304"/>
                  </a:cubicBezTo>
                  <a:cubicBezTo>
                    <a:pt x="4253" y="4363"/>
                    <a:pt x="4230" y="4434"/>
                    <a:pt x="4244" y="4495"/>
                  </a:cubicBezTo>
                  <a:cubicBezTo>
                    <a:pt x="4247" y="4507"/>
                    <a:pt x="4299" y="4561"/>
                    <a:pt x="4306" y="4539"/>
                  </a:cubicBezTo>
                  <a:cubicBezTo>
                    <a:pt x="4304" y="4532"/>
                    <a:pt x="4301" y="4526"/>
                    <a:pt x="4299" y="4519"/>
                  </a:cubicBezTo>
                </a:path>
              </a:pathLst>
            </a:custGeom>
            <a:grpFill/>
            <a:ln w="19050" cap="rnd">
              <a:solidFill>
                <a:schemeClr val="tx1"/>
              </a:solidFill>
              <a:round/>
              <a:headEnd/>
              <a:tailEnd/>
            </a:ln>
          </p:spPr>
          <p:txBody>
            <a:bodyPr>
              <a:prstTxWarp prst="textNoShape">
                <a:avLst/>
              </a:prstTxWarp>
            </a:bodyPr>
            <a:lstStyle/>
            <a:p>
              <a:pPr>
                <a:defRPr/>
              </a:pPr>
              <a:endParaRPr lang="en-US">
                <a:latin typeface="Arial" charset="0"/>
                <a:ea typeface="ＭＳ Ｐゴシック" charset="-128"/>
                <a:cs typeface="ＭＳ Ｐゴシック" charset="-128"/>
              </a:endParaRPr>
            </a:p>
          </p:txBody>
        </p:sp>
        <p:sp>
          <p:nvSpPr>
            <p:cNvPr id="12" name="Freeform 28"/>
            <p:cNvSpPr>
              <a:spLocks noRot="1" noChangeAspect="1" noEditPoints="1" noChangeArrowheads="1" noChangeShapeType="1" noTextEdit="1"/>
            </p:cNvSpPr>
            <p:nvPr/>
          </p:nvSpPr>
          <p:spPr bwMode="auto">
            <a:xfrm>
              <a:off x="1280" y="1929"/>
              <a:ext cx="489" cy="408"/>
            </a:xfrm>
            <a:custGeom>
              <a:avLst/>
              <a:gdLst/>
              <a:ahLst/>
              <a:cxnLst>
                <a:cxn ang="0">
                  <a:pos x="836" y="506"/>
                </a:cxn>
                <a:cxn ang="0">
                  <a:pos x="1091" y="1169"/>
                </a:cxn>
                <a:cxn ang="0">
                  <a:pos x="1726" y="1116"/>
                </a:cxn>
                <a:cxn ang="0">
                  <a:pos x="1675" y="644"/>
                </a:cxn>
                <a:cxn ang="0">
                  <a:pos x="1053" y="260"/>
                </a:cxn>
                <a:cxn ang="0">
                  <a:pos x="1060" y="346"/>
                </a:cxn>
                <a:cxn ang="0">
                  <a:pos x="898" y="524"/>
                </a:cxn>
                <a:cxn ang="0">
                  <a:pos x="898" y="705"/>
                </a:cxn>
                <a:cxn ang="0">
                  <a:pos x="986" y="1601"/>
                </a:cxn>
                <a:cxn ang="0">
                  <a:pos x="1641" y="1171"/>
                </a:cxn>
                <a:cxn ang="0">
                  <a:pos x="1828" y="1016"/>
                </a:cxn>
                <a:cxn ang="0">
                  <a:pos x="1183" y="865"/>
                </a:cxn>
                <a:cxn ang="0">
                  <a:pos x="1266" y="793"/>
                </a:cxn>
                <a:cxn ang="0">
                  <a:pos x="1693" y="386"/>
                </a:cxn>
                <a:cxn ang="0">
                  <a:pos x="1978" y="115"/>
                </a:cxn>
                <a:cxn ang="0">
                  <a:pos x="1873" y="127"/>
                </a:cxn>
                <a:cxn ang="0">
                  <a:pos x="1983" y="175"/>
                </a:cxn>
                <a:cxn ang="0">
                  <a:pos x="2149" y="10"/>
                </a:cxn>
                <a:cxn ang="0">
                  <a:pos x="1913" y="62"/>
                </a:cxn>
                <a:cxn ang="0">
                  <a:pos x="1355" y="1192"/>
                </a:cxn>
                <a:cxn ang="0">
                  <a:pos x="1203" y="1772"/>
                </a:cxn>
                <a:cxn ang="0">
                  <a:pos x="1310" y="1746"/>
                </a:cxn>
                <a:cxn ang="0">
                  <a:pos x="1693" y="1551"/>
                </a:cxn>
                <a:cxn ang="0">
                  <a:pos x="1833" y="1510"/>
                </a:cxn>
                <a:cxn ang="0">
                  <a:pos x="1655" y="1338"/>
                </a:cxn>
                <a:cxn ang="0">
                  <a:pos x="1381" y="1225"/>
                </a:cxn>
                <a:cxn ang="0">
                  <a:pos x="1013" y="968"/>
                </a:cxn>
                <a:cxn ang="0">
                  <a:pos x="970" y="893"/>
                </a:cxn>
                <a:cxn ang="0">
                  <a:pos x="678" y="747"/>
                </a:cxn>
                <a:cxn ang="0">
                  <a:pos x="98" y="394"/>
                </a:cxn>
                <a:cxn ang="0">
                  <a:pos x="173" y="418"/>
                </a:cxn>
                <a:cxn ang="0">
                  <a:pos x="580" y="413"/>
                </a:cxn>
                <a:cxn ang="0">
                  <a:pos x="235" y="625"/>
                </a:cxn>
                <a:cxn ang="0">
                  <a:pos x="297" y="649"/>
                </a:cxn>
                <a:cxn ang="0">
                  <a:pos x="518" y="664"/>
                </a:cxn>
                <a:cxn ang="0">
                  <a:pos x="198" y="853"/>
                </a:cxn>
                <a:cxn ang="0">
                  <a:pos x="420" y="783"/>
                </a:cxn>
                <a:cxn ang="0">
                  <a:pos x="577" y="823"/>
                </a:cxn>
                <a:cxn ang="0">
                  <a:pos x="362" y="1003"/>
                </a:cxn>
                <a:cxn ang="0">
                  <a:pos x="580" y="1019"/>
                </a:cxn>
                <a:cxn ang="0">
                  <a:pos x="0" y="1315"/>
                </a:cxn>
                <a:cxn ang="0">
                  <a:pos x="275" y="1340"/>
                </a:cxn>
                <a:cxn ang="0">
                  <a:pos x="717" y="1407"/>
                </a:cxn>
              </a:cxnLst>
              <a:rect l="0" t="0" r="r" b="b"/>
              <a:pathLst>
                <a:path w="2155" h="1801" extrusionOk="0">
                  <a:moveTo>
                    <a:pt x="881" y="464"/>
                  </a:moveTo>
                  <a:cubicBezTo>
                    <a:pt x="855" y="469"/>
                    <a:pt x="843" y="447"/>
                    <a:pt x="836" y="506"/>
                  </a:cubicBezTo>
                  <a:cubicBezTo>
                    <a:pt x="825" y="594"/>
                    <a:pt x="855" y="708"/>
                    <a:pt x="876" y="792"/>
                  </a:cubicBezTo>
                  <a:cubicBezTo>
                    <a:pt x="911" y="933"/>
                    <a:pt x="972" y="1079"/>
                    <a:pt x="1091" y="1169"/>
                  </a:cubicBezTo>
                  <a:cubicBezTo>
                    <a:pt x="1167" y="1227"/>
                    <a:pt x="1271" y="1261"/>
                    <a:pt x="1366" y="1260"/>
                  </a:cubicBezTo>
                  <a:cubicBezTo>
                    <a:pt x="1500" y="1259"/>
                    <a:pt x="1627" y="1204"/>
                    <a:pt x="1726" y="1116"/>
                  </a:cubicBezTo>
                  <a:cubicBezTo>
                    <a:pt x="1802" y="1048"/>
                    <a:pt x="1870" y="942"/>
                    <a:pt x="1849" y="836"/>
                  </a:cubicBezTo>
                  <a:cubicBezTo>
                    <a:pt x="1832" y="749"/>
                    <a:pt x="1742" y="691"/>
                    <a:pt x="1675" y="644"/>
                  </a:cubicBezTo>
                  <a:cubicBezTo>
                    <a:pt x="1525" y="538"/>
                    <a:pt x="1364" y="447"/>
                    <a:pt x="1208" y="351"/>
                  </a:cubicBezTo>
                  <a:cubicBezTo>
                    <a:pt x="1156" y="319"/>
                    <a:pt x="1109" y="285"/>
                    <a:pt x="1053" y="260"/>
                  </a:cubicBezTo>
                  <a:cubicBezTo>
                    <a:pt x="1048" y="259"/>
                    <a:pt x="1043" y="257"/>
                    <a:pt x="1038" y="256"/>
                  </a:cubicBezTo>
                  <a:cubicBezTo>
                    <a:pt x="1039" y="289"/>
                    <a:pt x="1047" y="310"/>
                    <a:pt x="1060" y="346"/>
                  </a:cubicBezTo>
                  <a:cubicBezTo>
                    <a:pt x="1071" y="377"/>
                    <a:pt x="1074" y="387"/>
                    <a:pt x="1080" y="408"/>
                  </a:cubicBezTo>
                </a:path>
                <a:path w="2155" h="1801" extrusionOk="0">
                  <a:moveTo>
                    <a:pt x="898" y="524"/>
                  </a:moveTo>
                  <a:cubicBezTo>
                    <a:pt x="888" y="543"/>
                    <a:pt x="886" y="533"/>
                    <a:pt x="891" y="574"/>
                  </a:cubicBezTo>
                  <a:cubicBezTo>
                    <a:pt x="897" y="618"/>
                    <a:pt x="899" y="660"/>
                    <a:pt x="898" y="705"/>
                  </a:cubicBezTo>
                  <a:cubicBezTo>
                    <a:pt x="890" y="964"/>
                    <a:pt x="820" y="1266"/>
                    <a:pt x="915" y="1516"/>
                  </a:cubicBezTo>
                  <a:cubicBezTo>
                    <a:pt x="928" y="1550"/>
                    <a:pt x="948" y="1591"/>
                    <a:pt x="986" y="1601"/>
                  </a:cubicBezTo>
                  <a:cubicBezTo>
                    <a:pt x="1035" y="1614"/>
                    <a:pt x="1111" y="1541"/>
                    <a:pt x="1146" y="1518"/>
                  </a:cubicBezTo>
                  <a:cubicBezTo>
                    <a:pt x="1315" y="1408"/>
                    <a:pt x="1481" y="1293"/>
                    <a:pt x="1641" y="1171"/>
                  </a:cubicBezTo>
                  <a:cubicBezTo>
                    <a:pt x="1692" y="1132"/>
                    <a:pt x="1742" y="1093"/>
                    <a:pt x="1790" y="1051"/>
                  </a:cubicBezTo>
                  <a:cubicBezTo>
                    <a:pt x="1809" y="1035"/>
                    <a:pt x="1816" y="1029"/>
                    <a:pt x="1828" y="1016"/>
                  </a:cubicBezTo>
                  <a:cubicBezTo>
                    <a:pt x="1772" y="1016"/>
                    <a:pt x="1794" y="1036"/>
                    <a:pt x="1745" y="989"/>
                  </a:cubicBezTo>
                </a:path>
                <a:path w="2155" h="1801" extrusionOk="0">
                  <a:moveTo>
                    <a:pt x="1183" y="865"/>
                  </a:moveTo>
                  <a:cubicBezTo>
                    <a:pt x="1175" y="849"/>
                    <a:pt x="1174" y="842"/>
                    <a:pt x="1185" y="831"/>
                  </a:cubicBezTo>
                  <a:cubicBezTo>
                    <a:pt x="1221" y="823"/>
                    <a:pt x="1235" y="814"/>
                    <a:pt x="1266" y="793"/>
                  </a:cubicBezTo>
                  <a:cubicBezTo>
                    <a:pt x="1324" y="754"/>
                    <a:pt x="1368" y="703"/>
                    <a:pt x="1418" y="655"/>
                  </a:cubicBezTo>
                  <a:cubicBezTo>
                    <a:pt x="1510" y="566"/>
                    <a:pt x="1603" y="477"/>
                    <a:pt x="1693" y="386"/>
                  </a:cubicBezTo>
                  <a:cubicBezTo>
                    <a:pt x="1768" y="310"/>
                    <a:pt x="1841" y="231"/>
                    <a:pt x="1919" y="158"/>
                  </a:cubicBezTo>
                  <a:cubicBezTo>
                    <a:pt x="1946" y="132"/>
                    <a:pt x="1942" y="126"/>
                    <a:pt x="1978" y="115"/>
                  </a:cubicBezTo>
                </a:path>
                <a:path w="2155" h="1801" extrusionOk="0">
                  <a:moveTo>
                    <a:pt x="1924" y="24"/>
                  </a:moveTo>
                  <a:cubicBezTo>
                    <a:pt x="1908" y="57"/>
                    <a:pt x="1886" y="93"/>
                    <a:pt x="1873" y="127"/>
                  </a:cubicBezTo>
                  <a:cubicBezTo>
                    <a:pt x="1859" y="165"/>
                    <a:pt x="1848" y="187"/>
                    <a:pt x="1866" y="222"/>
                  </a:cubicBezTo>
                  <a:cubicBezTo>
                    <a:pt x="1908" y="212"/>
                    <a:pt x="1946" y="198"/>
                    <a:pt x="1983" y="175"/>
                  </a:cubicBezTo>
                  <a:cubicBezTo>
                    <a:pt x="2031" y="146"/>
                    <a:pt x="2091" y="111"/>
                    <a:pt x="2129" y="69"/>
                  </a:cubicBezTo>
                  <a:cubicBezTo>
                    <a:pt x="2149" y="47"/>
                    <a:pt x="2152" y="35"/>
                    <a:pt x="2149" y="10"/>
                  </a:cubicBezTo>
                  <a:cubicBezTo>
                    <a:pt x="2090" y="0"/>
                    <a:pt x="2043" y="7"/>
                    <a:pt x="1984" y="25"/>
                  </a:cubicBezTo>
                  <a:cubicBezTo>
                    <a:pt x="1955" y="34"/>
                    <a:pt x="1871" y="42"/>
                    <a:pt x="1913" y="62"/>
                  </a:cubicBezTo>
                </a:path>
                <a:path w="2155" h="1801" extrusionOk="0">
                  <a:moveTo>
                    <a:pt x="1341" y="1264"/>
                  </a:moveTo>
                  <a:cubicBezTo>
                    <a:pt x="1336" y="1231"/>
                    <a:pt x="1341" y="1222"/>
                    <a:pt x="1355" y="1192"/>
                  </a:cubicBezTo>
                  <a:cubicBezTo>
                    <a:pt x="1368" y="1228"/>
                    <a:pt x="1363" y="1255"/>
                    <a:pt x="1355" y="1294"/>
                  </a:cubicBezTo>
                  <a:cubicBezTo>
                    <a:pt x="1320" y="1454"/>
                    <a:pt x="1213" y="1608"/>
                    <a:pt x="1203" y="1772"/>
                  </a:cubicBezTo>
                  <a:cubicBezTo>
                    <a:pt x="1204" y="1779"/>
                    <a:pt x="1204" y="1787"/>
                    <a:pt x="1205" y="1794"/>
                  </a:cubicBezTo>
                  <a:cubicBezTo>
                    <a:pt x="1251" y="1798"/>
                    <a:pt x="1271" y="1774"/>
                    <a:pt x="1310" y="1746"/>
                  </a:cubicBezTo>
                  <a:cubicBezTo>
                    <a:pt x="1358" y="1711"/>
                    <a:pt x="1406" y="1676"/>
                    <a:pt x="1458" y="1646"/>
                  </a:cubicBezTo>
                  <a:cubicBezTo>
                    <a:pt x="1530" y="1604"/>
                    <a:pt x="1611" y="1568"/>
                    <a:pt x="1693" y="1551"/>
                  </a:cubicBezTo>
                  <a:cubicBezTo>
                    <a:pt x="1724" y="1545"/>
                    <a:pt x="1755" y="1542"/>
                    <a:pt x="1786" y="1538"/>
                  </a:cubicBezTo>
                  <a:cubicBezTo>
                    <a:pt x="1814" y="1534"/>
                    <a:pt x="1813" y="1526"/>
                    <a:pt x="1833" y="1510"/>
                  </a:cubicBezTo>
                  <a:cubicBezTo>
                    <a:pt x="1806" y="1483"/>
                    <a:pt x="1777" y="1464"/>
                    <a:pt x="1751" y="1433"/>
                  </a:cubicBezTo>
                  <a:cubicBezTo>
                    <a:pt x="1722" y="1398"/>
                    <a:pt x="1691" y="1366"/>
                    <a:pt x="1655" y="1338"/>
                  </a:cubicBezTo>
                  <a:cubicBezTo>
                    <a:pt x="1607" y="1301"/>
                    <a:pt x="1551" y="1269"/>
                    <a:pt x="1495" y="1247"/>
                  </a:cubicBezTo>
                  <a:cubicBezTo>
                    <a:pt x="1458" y="1233"/>
                    <a:pt x="1420" y="1227"/>
                    <a:pt x="1381" y="1225"/>
                  </a:cubicBezTo>
                  <a:cubicBezTo>
                    <a:pt x="1420" y="1232"/>
                    <a:pt x="1437" y="1230"/>
                    <a:pt x="1476" y="1224"/>
                  </a:cubicBezTo>
                </a:path>
                <a:path w="2155" h="1801" extrusionOk="0">
                  <a:moveTo>
                    <a:pt x="1013" y="968"/>
                  </a:moveTo>
                  <a:cubicBezTo>
                    <a:pt x="1033" y="955"/>
                    <a:pt x="1043" y="949"/>
                    <a:pt x="1055" y="930"/>
                  </a:cubicBezTo>
                  <a:cubicBezTo>
                    <a:pt x="1027" y="917"/>
                    <a:pt x="999" y="903"/>
                    <a:pt x="970" y="893"/>
                  </a:cubicBezTo>
                  <a:cubicBezTo>
                    <a:pt x="929" y="879"/>
                    <a:pt x="888" y="862"/>
                    <a:pt x="848" y="845"/>
                  </a:cubicBezTo>
                  <a:cubicBezTo>
                    <a:pt x="794" y="822"/>
                    <a:pt x="718" y="792"/>
                    <a:pt x="678" y="747"/>
                  </a:cubicBezTo>
                  <a:cubicBezTo>
                    <a:pt x="633" y="696"/>
                    <a:pt x="691" y="701"/>
                    <a:pt x="728" y="692"/>
                  </a:cubicBezTo>
                </a:path>
                <a:path w="2155" h="1801" extrusionOk="0">
                  <a:moveTo>
                    <a:pt x="98" y="394"/>
                  </a:moveTo>
                  <a:cubicBezTo>
                    <a:pt x="77" y="402"/>
                    <a:pt x="70" y="404"/>
                    <a:pt x="62" y="418"/>
                  </a:cubicBezTo>
                  <a:cubicBezTo>
                    <a:pt x="100" y="422"/>
                    <a:pt x="135" y="421"/>
                    <a:pt x="173" y="418"/>
                  </a:cubicBezTo>
                  <a:cubicBezTo>
                    <a:pt x="255" y="412"/>
                    <a:pt x="335" y="417"/>
                    <a:pt x="417" y="419"/>
                  </a:cubicBezTo>
                  <a:cubicBezTo>
                    <a:pt x="471" y="420"/>
                    <a:pt x="526" y="418"/>
                    <a:pt x="580" y="413"/>
                  </a:cubicBezTo>
                  <a:cubicBezTo>
                    <a:pt x="588" y="412"/>
                    <a:pt x="595" y="412"/>
                    <a:pt x="603" y="411"/>
                  </a:cubicBezTo>
                </a:path>
                <a:path w="2155" h="1801" extrusionOk="0">
                  <a:moveTo>
                    <a:pt x="235" y="625"/>
                  </a:moveTo>
                  <a:cubicBezTo>
                    <a:pt x="229" y="633"/>
                    <a:pt x="224" y="641"/>
                    <a:pt x="218" y="649"/>
                  </a:cubicBezTo>
                  <a:cubicBezTo>
                    <a:pt x="247" y="660"/>
                    <a:pt x="265" y="653"/>
                    <a:pt x="297" y="649"/>
                  </a:cubicBezTo>
                  <a:cubicBezTo>
                    <a:pt x="338" y="644"/>
                    <a:pt x="379" y="646"/>
                    <a:pt x="420" y="647"/>
                  </a:cubicBezTo>
                  <a:cubicBezTo>
                    <a:pt x="453" y="648"/>
                    <a:pt x="487" y="652"/>
                    <a:pt x="518" y="664"/>
                  </a:cubicBezTo>
                  <a:cubicBezTo>
                    <a:pt x="525" y="667"/>
                    <a:pt x="533" y="671"/>
                    <a:pt x="540" y="674"/>
                  </a:cubicBezTo>
                </a:path>
                <a:path w="2155" h="1801" extrusionOk="0">
                  <a:moveTo>
                    <a:pt x="198" y="853"/>
                  </a:moveTo>
                  <a:cubicBezTo>
                    <a:pt x="231" y="837"/>
                    <a:pt x="258" y="824"/>
                    <a:pt x="292" y="813"/>
                  </a:cubicBezTo>
                  <a:cubicBezTo>
                    <a:pt x="332" y="800"/>
                    <a:pt x="377" y="785"/>
                    <a:pt x="420" y="783"/>
                  </a:cubicBezTo>
                  <a:cubicBezTo>
                    <a:pt x="458" y="781"/>
                    <a:pt x="501" y="783"/>
                    <a:pt x="537" y="793"/>
                  </a:cubicBezTo>
                  <a:cubicBezTo>
                    <a:pt x="560" y="803"/>
                    <a:pt x="568" y="807"/>
                    <a:pt x="577" y="823"/>
                  </a:cubicBezTo>
                </a:path>
                <a:path w="2155" h="1801" extrusionOk="0">
                  <a:moveTo>
                    <a:pt x="230" y="1019"/>
                  </a:moveTo>
                  <a:cubicBezTo>
                    <a:pt x="275" y="1018"/>
                    <a:pt x="317" y="1011"/>
                    <a:pt x="362" y="1003"/>
                  </a:cubicBezTo>
                  <a:cubicBezTo>
                    <a:pt x="408" y="995"/>
                    <a:pt x="460" y="991"/>
                    <a:pt x="507" y="996"/>
                  </a:cubicBezTo>
                  <a:cubicBezTo>
                    <a:pt x="535" y="999"/>
                    <a:pt x="555" y="1008"/>
                    <a:pt x="580" y="1019"/>
                  </a:cubicBezTo>
                </a:path>
                <a:path w="2155" h="1801" extrusionOk="0">
                  <a:moveTo>
                    <a:pt x="58" y="1318"/>
                  </a:moveTo>
                  <a:cubicBezTo>
                    <a:pt x="36" y="1315"/>
                    <a:pt x="21" y="1313"/>
                    <a:pt x="0" y="1315"/>
                  </a:cubicBezTo>
                  <a:cubicBezTo>
                    <a:pt x="22" y="1343"/>
                    <a:pt x="49" y="1332"/>
                    <a:pt x="87" y="1333"/>
                  </a:cubicBezTo>
                  <a:cubicBezTo>
                    <a:pt x="150" y="1335"/>
                    <a:pt x="212" y="1337"/>
                    <a:pt x="275" y="1340"/>
                  </a:cubicBezTo>
                  <a:cubicBezTo>
                    <a:pt x="354" y="1344"/>
                    <a:pt x="431" y="1358"/>
                    <a:pt x="508" y="1372"/>
                  </a:cubicBezTo>
                  <a:cubicBezTo>
                    <a:pt x="577" y="1385"/>
                    <a:pt x="647" y="1401"/>
                    <a:pt x="717" y="1407"/>
                  </a:cubicBezTo>
                  <a:cubicBezTo>
                    <a:pt x="738" y="1408"/>
                    <a:pt x="745" y="1408"/>
                    <a:pt x="758" y="1412"/>
                  </a:cubicBezTo>
                </a:path>
              </a:pathLst>
            </a:custGeom>
            <a:grpFill/>
            <a:ln w="19050" cap="rnd">
              <a:solidFill>
                <a:schemeClr val="tx1"/>
              </a:solidFill>
              <a:round/>
              <a:headEnd/>
              <a:tailEnd/>
            </a:ln>
          </p:spPr>
          <p:txBody>
            <a:bodyPr>
              <a:prstTxWarp prst="textNoShape">
                <a:avLst/>
              </a:prstTxWarp>
            </a:bodyPr>
            <a:lstStyle/>
            <a:p>
              <a:pPr>
                <a:defRPr/>
              </a:pPr>
              <a:endParaRPr lang="en-US">
                <a:latin typeface="Arial" charset="0"/>
                <a:ea typeface="ＭＳ Ｐゴシック" charset="-128"/>
                <a:cs typeface="ＭＳ Ｐゴシック" charset="-128"/>
              </a:endParaRPr>
            </a:p>
          </p:txBody>
        </p:sp>
        <p:sp>
          <p:nvSpPr>
            <p:cNvPr id="13" name="Freeform 29"/>
            <p:cNvSpPr>
              <a:spLocks noRot="1" noChangeAspect="1" noEditPoints="1" noChangeArrowheads="1" noChangeShapeType="1" noTextEdit="1"/>
            </p:cNvSpPr>
            <p:nvPr/>
          </p:nvSpPr>
          <p:spPr bwMode="auto">
            <a:xfrm>
              <a:off x="2118" y="1733"/>
              <a:ext cx="244" cy="359"/>
            </a:xfrm>
            <a:custGeom>
              <a:avLst/>
              <a:gdLst/>
              <a:ahLst/>
              <a:cxnLst>
                <a:cxn ang="0">
                  <a:pos x="251" y="1050"/>
                </a:cxn>
                <a:cxn ang="0">
                  <a:pos x="0" y="553"/>
                </a:cxn>
                <a:cxn ang="0">
                  <a:pos x="201" y="119"/>
                </a:cxn>
                <a:cxn ang="0">
                  <a:pos x="668" y="18"/>
                </a:cxn>
                <a:cxn ang="0">
                  <a:pos x="943" y="325"/>
                </a:cxn>
                <a:cxn ang="0">
                  <a:pos x="1008" y="801"/>
                </a:cxn>
                <a:cxn ang="0">
                  <a:pos x="936" y="967"/>
                </a:cxn>
                <a:cxn ang="0">
                  <a:pos x="963" y="1108"/>
                </a:cxn>
                <a:cxn ang="0">
                  <a:pos x="1013" y="1431"/>
                </a:cxn>
                <a:cxn ang="0">
                  <a:pos x="796" y="1522"/>
                </a:cxn>
                <a:cxn ang="0">
                  <a:pos x="663" y="1575"/>
                </a:cxn>
                <a:cxn ang="0">
                  <a:pos x="605" y="1379"/>
                </a:cxn>
                <a:cxn ang="0">
                  <a:pos x="631" y="1251"/>
                </a:cxn>
                <a:cxn ang="0">
                  <a:pos x="726" y="1333"/>
                </a:cxn>
                <a:cxn ang="0">
                  <a:pos x="770" y="1459"/>
                </a:cxn>
                <a:cxn ang="0">
                  <a:pos x="981" y="1431"/>
                </a:cxn>
                <a:cxn ang="0">
                  <a:pos x="956" y="1309"/>
                </a:cxn>
                <a:cxn ang="0">
                  <a:pos x="1073" y="1394"/>
                </a:cxn>
                <a:cxn ang="0">
                  <a:pos x="1073" y="1394"/>
                </a:cxn>
                <a:cxn ang="0">
                  <a:pos x="873" y="1451"/>
                </a:cxn>
                <a:cxn ang="0">
                  <a:pos x="810" y="1404"/>
                </a:cxn>
                <a:cxn ang="0">
                  <a:pos x="815" y="1303"/>
                </a:cxn>
                <a:cxn ang="0">
                  <a:pos x="381" y="485"/>
                </a:cxn>
                <a:cxn ang="0">
                  <a:pos x="511" y="747"/>
                </a:cxn>
                <a:cxn ang="0">
                  <a:pos x="563" y="663"/>
                </a:cxn>
                <a:cxn ang="0">
                  <a:pos x="486" y="448"/>
                </a:cxn>
                <a:cxn ang="0">
                  <a:pos x="773" y="410"/>
                </a:cxn>
                <a:cxn ang="0">
                  <a:pos x="790" y="570"/>
                </a:cxn>
                <a:cxn ang="0">
                  <a:pos x="960" y="518"/>
                </a:cxn>
                <a:cxn ang="0">
                  <a:pos x="775" y="463"/>
                </a:cxn>
                <a:cxn ang="0">
                  <a:pos x="683" y="942"/>
                </a:cxn>
                <a:cxn ang="0">
                  <a:pos x="716" y="919"/>
                </a:cxn>
                <a:cxn ang="0">
                  <a:pos x="801" y="905"/>
                </a:cxn>
                <a:cxn ang="0">
                  <a:pos x="813" y="752"/>
                </a:cxn>
                <a:cxn ang="0">
                  <a:pos x="901" y="831"/>
                </a:cxn>
                <a:cxn ang="0">
                  <a:pos x="860" y="975"/>
                </a:cxn>
                <a:cxn ang="0">
                  <a:pos x="746" y="1062"/>
                </a:cxn>
                <a:cxn ang="0">
                  <a:pos x="706" y="964"/>
                </a:cxn>
              </a:cxnLst>
              <a:rect l="0" t="0" r="r" b="b"/>
              <a:pathLst>
                <a:path w="1074" h="1584" extrusionOk="0">
                  <a:moveTo>
                    <a:pt x="323" y="1116"/>
                  </a:moveTo>
                  <a:cubicBezTo>
                    <a:pt x="299" y="1092"/>
                    <a:pt x="276" y="1073"/>
                    <a:pt x="251" y="1050"/>
                  </a:cubicBezTo>
                  <a:cubicBezTo>
                    <a:pt x="185" y="990"/>
                    <a:pt x="135" y="919"/>
                    <a:pt x="88" y="844"/>
                  </a:cubicBezTo>
                  <a:cubicBezTo>
                    <a:pt x="33" y="756"/>
                    <a:pt x="9" y="656"/>
                    <a:pt x="0" y="553"/>
                  </a:cubicBezTo>
                  <a:cubicBezTo>
                    <a:pt x="-6" y="484"/>
                    <a:pt x="10" y="411"/>
                    <a:pt x="35" y="347"/>
                  </a:cubicBezTo>
                  <a:cubicBezTo>
                    <a:pt x="67" y="263"/>
                    <a:pt x="134" y="178"/>
                    <a:pt x="201" y="119"/>
                  </a:cubicBezTo>
                  <a:cubicBezTo>
                    <a:pt x="274" y="55"/>
                    <a:pt x="355" y="19"/>
                    <a:pt x="450" y="5"/>
                  </a:cubicBezTo>
                  <a:cubicBezTo>
                    <a:pt x="519" y="-5"/>
                    <a:pt x="601" y="-4"/>
                    <a:pt x="668" y="18"/>
                  </a:cubicBezTo>
                  <a:cubicBezTo>
                    <a:pt x="706" y="31"/>
                    <a:pt x="744" y="53"/>
                    <a:pt x="775" y="79"/>
                  </a:cubicBezTo>
                  <a:cubicBezTo>
                    <a:pt x="850" y="142"/>
                    <a:pt x="908" y="235"/>
                    <a:pt x="943" y="325"/>
                  </a:cubicBezTo>
                  <a:cubicBezTo>
                    <a:pt x="989" y="441"/>
                    <a:pt x="998" y="579"/>
                    <a:pt x="1006" y="703"/>
                  </a:cubicBezTo>
                  <a:cubicBezTo>
                    <a:pt x="1008" y="736"/>
                    <a:pt x="1009" y="768"/>
                    <a:pt x="1008" y="801"/>
                  </a:cubicBezTo>
                  <a:cubicBezTo>
                    <a:pt x="1008" y="820"/>
                    <a:pt x="1013" y="852"/>
                    <a:pt x="1008" y="869"/>
                  </a:cubicBezTo>
                  <a:cubicBezTo>
                    <a:pt x="996" y="912"/>
                    <a:pt x="957" y="929"/>
                    <a:pt x="936" y="967"/>
                  </a:cubicBezTo>
                  <a:cubicBezTo>
                    <a:pt x="919" y="998"/>
                    <a:pt x="921" y="1013"/>
                    <a:pt x="928" y="1040"/>
                  </a:cubicBezTo>
                  <a:cubicBezTo>
                    <a:pt x="934" y="1062"/>
                    <a:pt x="954" y="1087"/>
                    <a:pt x="963" y="1108"/>
                  </a:cubicBezTo>
                  <a:cubicBezTo>
                    <a:pt x="974" y="1134"/>
                    <a:pt x="985" y="1162"/>
                    <a:pt x="993" y="1190"/>
                  </a:cubicBezTo>
                  <a:cubicBezTo>
                    <a:pt x="1009" y="1247"/>
                    <a:pt x="1061" y="1390"/>
                    <a:pt x="1013" y="1431"/>
                  </a:cubicBezTo>
                  <a:cubicBezTo>
                    <a:pt x="984" y="1455"/>
                    <a:pt x="918" y="1462"/>
                    <a:pt x="883" y="1477"/>
                  </a:cubicBezTo>
                  <a:cubicBezTo>
                    <a:pt x="853" y="1490"/>
                    <a:pt x="825" y="1507"/>
                    <a:pt x="796" y="1522"/>
                  </a:cubicBezTo>
                  <a:cubicBezTo>
                    <a:pt x="763" y="1540"/>
                    <a:pt x="709" y="1577"/>
                    <a:pt x="678" y="1583"/>
                  </a:cubicBezTo>
                  <a:cubicBezTo>
                    <a:pt x="673" y="1580"/>
                    <a:pt x="668" y="1578"/>
                    <a:pt x="663" y="1575"/>
                  </a:cubicBezTo>
                  <a:cubicBezTo>
                    <a:pt x="646" y="1541"/>
                    <a:pt x="610" y="1496"/>
                    <a:pt x="601" y="1464"/>
                  </a:cubicBezTo>
                  <a:cubicBezTo>
                    <a:pt x="594" y="1437"/>
                    <a:pt x="601" y="1406"/>
                    <a:pt x="605" y="1379"/>
                  </a:cubicBezTo>
                  <a:cubicBezTo>
                    <a:pt x="609" y="1350"/>
                    <a:pt x="615" y="1322"/>
                    <a:pt x="621" y="1293"/>
                  </a:cubicBezTo>
                  <a:cubicBezTo>
                    <a:pt x="627" y="1270"/>
                    <a:pt x="628" y="1265"/>
                    <a:pt x="631" y="1251"/>
                  </a:cubicBezTo>
                  <a:cubicBezTo>
                    <a:pt x="655" y="1266"/>
                    <a:pt x="669" y="1269"/>
                    <a:pt x="690" y="1279"/>
                  </a:cubicBezTo>
                  <a:cubicBezTo>
                    <a:pt x="730" y="1297"/>
                    <a:pt x="717" y="1296"/>
                    <a:pt x="726" y="1333"/>
                  </a:cubicBezTo>
                  <a:cubicBezTo>
                    <a:pt x="732" y="1356"/>
                    <a:pt x="726" y="1383"/>
                    <a:pt x="733" y="1409"/>
                  </a:cubicBezTo>
                  <a:cubicBezTo>
                    <a:pt x="741" y="1438"/>
                    <a:pt x="751" y="1436"/>
                    <a:pt x="770" y="1459"/>
                  </a:cubicBezTo>
                </a:path>
                <a:path w="1074" h="1584" extrusionOk="0">
                  <a:moveTo>
                    <a:pt x="990" y="1510"/>
                  </a:moveTo>
                  <a:cubicBezTo>
                    <a:pt x="987" y="1484"/>
                    <a:pt x="983" y="1457"/>
                    <a:pt x="981" y="1431"/>
                  </a:cubicBezTo>
                  <a:cubicBezTo>
                    <a:pt x="978" y="1397"/>
                    <a:pt x="976" y="1358"/>
                    <a:pt x="965" y="1326"/>
                  </a:cubicBezTo>
                  <a:cubicBezTo>
                    <a:pt x="962" y="1320"/>
                    <a:pt x="959" y="1315"/>
                    <a:pt x="956" y="1309"/>
                  </a:cubicBezTo>
                </a:path>
                <a:path w="1074" h="1584" extrusionOk="0">
                  <a:moveTo>
                    <a:pt x="1073" y="1394"/>
                  </a:moveTo>
                  <a:lnTo>
                    <a:pt x="1073" y="1394"/>
                  </a:lnTo>
                </a:path>
                <a:path w="1074" h="1584" extrusionOk="0">
                  <a:moveTo>
                    <a:pt x="873" y="1451"/>
                  </a:moveTo>
                  <a:cubicBezTo>
                    <a:pt x="853" y="1461"/>
                    <a:pt x="838" y="1469"/>
                    <a:pt x="818" y="1477"/>
                  </a:cubicBezTo>
                  <a:cubicBezTo>
                    <a:pt x="812" y="1453"/>
                    <a:pt x="808" y="1429"/>
                    <a:pt x="810" y="1404"/>
                  </a:cubicBezTo>
                  <a:cubicBezTo>
                    <a:pt x="812" y="1382"/>
                    <a:pt x="815" y="1359"/>
                    <a:pt x="818" y="1337"/>
                  </a:cubicBezTo>
                  <a:cubicBezTo>
                    <a:pt x="821" y="1319"/>
                    <a:pt x="822" y="1314"/>
                    <a:pt x="815" y="1303"/>
                  </a:cubicBezTo>
                </a:path>
                <a:path w="1074" h="1584" extrusionOk="0">
                  <a:moveTo>
                    <a:pt x="376" y="390"/>
                  </a:moveTo>
                  <a:cubicBezTo>
                    <a:pt x="352" y="418"/>
                    <a:pt x="368" y="448"/>
                    <a:pt x="381" y="485"/>
                  </a:cubicBezTo>
                  <a:cubicBezTo>
                    <a:pt x="399" y="536"/>
                    <a:pt x="419" y="587"/>
                    <a:pt x="443" y="636"/>
                  </a:cubicBezTo>
                  <a:cubicBezTo>
                    <a:pt x="459" y="669"/>
                    <a:pt x="480" y="724"/>
                    <a:pt x="511" y="747"/>
                  </a:cubicBezTo>
                  <a:cubicBezTo>
                    <a:pt x="519" y="751"/>
                    <a:pt x="527" y="755"/>
                    <a:pt x="535" y="759"/>
                  </a:cubicBezTo>
                  <a:cubicBezTo>
                    <a:pt x="558" y="730"/>
                    <a:pt x="565" y="702"/>
                    <a:pt x="563" y="663"/>
                  </a:cubicBezTo>
                  <a:cubicBezTo>
                    <a:pt x="561" y="616"/>
                    <a:pt x="549" y="567"/>
                    <a:pt x="528" y="525"/>
                  </a:cubicBezTo>
                  <a:cubicBezTo>
                    <a:pt x="515" y="499"/>
                    <a:pt x="500" y="473"/>
                    <a:pt x="486" y="448"/>
                  </a:cubicBezTo>
                  <a:cubicBezTo>
                    <a:pt x="482" y="440"/>
                    <a:pt x="477" y="433"/>
                    <a:pt x="473" y="425"/>
                  </a:cubicBezTo>
                </a:path>
                <a:path w="1074" h="1584" extrusionOk="0">
                  <a:moveTo>
                    <a:pt x="773" y="410"/>
                  </a:moveTo>
                  <a:cubicBezTo>
                    <a:pt x="762" y="441"/>
                    <a:pt x="750" y="465"/>
                    <a:pt x="751" y="498"/>
                  </a:cubicBezTo>
                  <a:cubicBezTo>
                    <a:pt x="752" y="527"/>
                    <a:pt x="766" y="553"/>
                    <a:pt x="790" y="570"/>
                  </a:cubicBezTo>
                  <a:cubicBezTo>
                    <a:pt x="817" y="588"/>
                    <a:pt x="853" y="588"/>
                    <a:pt x="883" y="578"/>
                  </a:cubicBezTo>
                  <a:cubicBezTo>
                    <a:pt x="912" y="568"/>
                    <a:pt x="946" y="546"/>
                    <a:pt x="960" y="518"/>
                  </a:cubicBezTo>
                  <a:cubicBezTo>
                    <a:pt x="981" y="476"/>
                    <a:pt x="937" y="457"/>
                    <a:pt x="903" y="450"/>
                  </a:cubicBezTo>
                  <a:cubicBezTo>
                    <a:pt x="860" y="441"/>
                    <a:pt x="815" y="451"/>
                    <a:pt x="775" y="463"/>
                  </a:cubicBezTo>
                  <a:cubicBezTo>
                    <a:pt x="767" y="465"/>
                    <a:pt x="759" y="468"/>
                    <a:pt x="751" y="470"/>
                  </a:cubicBezTo>
                </a:path>
                <a:path w="1074" h="1584" extrusionOk="0">
                  <a:moveTo>
                    <a:pt x="683" y="942"/>
                  </a:moveTo>
                  <a:cubicBezTo>
                    <a:pt x="704" y="916"/>
                    <a:pt x="703" y="908"/>
                    <a:pt x="698" y="874"/>
                  </a:cubicBezTo>
                  <a:cubicBezTo>
                    <a:pt x="692" y="835"/>
                    <a:pt x="713" y="909"/>
                    <a:pt x="716" y="919"/>
                  </a:cubicBezTo>
                  <a:cubicBezTo>
                    <a:pt x="724" y="949"/>
                    <a:pt x="728" y="965"/>
                    <a:pt x="748" y="987"/>
                  </a:cubicBezTo>
                  <a:cubicBezTo>
                    <a:pt x="779" y="964"/>
                    <a:pt x="788" y="942"/>
                    <a:pt x="801" y="905"/>
                  </a:cubicBezTo>
                  <a:cubicBezTo>
                    <a:pt x="814" y="869"/>
                    <a:pt x="821" y="830"/>
                    <a:pt x="821" y="792"/>
                  </a:cubicBezTo>
                  <a:cubicBezTo>
                    <a:pt x="820" y="771"/>
                    <a:pt x="820" y="765"/>
                    <a:pt x="813" y="752"/>
                  </a:cubicBezTo>
                  <a:cubicBezTo>
                    <a:pt x="826" y="790"/>
                    <a:pt x="849" y="805"/>
                    <a:pt x="886" y="824"/>
                  </a:cubicBezTo>
                  <a:cubicBezTo>
                    <a:pt x="891" y="826"/>
                    <a:pt x="896" y="829"/>
                    <a:pt x="901" y="831"/>
                  </a:cubicBezTo>
                  <a:cubicBezTo>
                    <a:pt x="870" y="853"/>
                    <a:pt x="870" y="866"/>
                    <a:pt x="868" y="905"/>
                  </a:cubicBezTo>
                  <a:cubicBezTo>
                    <a:pt x="867" y="929"/>
                    <a:pt x="867" y="952"/>
                    <a:pt x="860" y="975"/>
                  </a:cubicBezTo>
                  <a:cubicBezTo>
                    <a:pt x="853" y="999"/>
                    <a:pt x="843" y="1024"/>
                    <a:pt x="825" y="1042"/>
                  </a:cubicBezTo>
                  <a:cubicBezTo>
                    <a:pt x="804" y="1063"/>
                    <a:pt x="770" y="1098"/>
                    <a:pt x="746" y="1062"/>
                  </a:cubicBezTo>
                  <a:cubicBezTo>
                    <a:pt x="731" y="1039"/>
                    <a:pt x="732" y="1004"/>
                    <a:pt x="710" y="985"/>
                  </a:cubicBezTo>
                  <a:cubicBezTo>
                    <a:pt x="694" y="979"/>
                    <a:pt x="690" y="976"/>
                    <a:pt x="706" y="964"/>
                  </a:cubicBezTo>
                </a:path>
              </a:pathLst>
            </a:custGeom>
            <a:grpFill/>
            <a:ln w="19050" cap="rnd">
              <a:solidFill>
                <a:schemeClr val="tx1"/>
              </a:solidFill>
              <a:round/>
              <a:headEnd/>
              <a:tailEnd/>
            </a:ln>
          </p:spPr>
          <p:txBody>
            <a:bodyPr>
              <a:prstTxWarp prst="textNoShape">
                <a:avLst/>
              </a:prstTxWarp>
            </a:bodyPr>
            <a:lstStyle/>
            <a:p>
              <a:pPr>
                <a:defRPr/>
              </a:pPr>
              <a:endParaRPr lang="en-US">
                <a:latin typeface="Arial" charset="0"/>
                <a:ea typeface="ＭＳ Ｐゴシック" charset="-128"/>
                <a:cs typeface="ＭＳ Ｐゴシック" charset="-128"/>
              </a:endParaRPr>
            </a:p>
          </p:txBody>
        </p:sp>
        <p:sp>
          <p:nvSpPr>
            <p:cNvPr id="14" name="Freeform 30"/>
            <p:cNvSpPr>
              <a:spLocks noRot="1" noChangeAspect="1" noEditPoints="1" noChangeArrowheads="1" noChangeShapeType="1" noTextEdit="1"/>
            </p:cNvSpPr>
            <p:nvPr/>
          </p:nvSpPr>
          <p:spPr bwMode="auto">
            <a:xfrm>
              <a:off x="2076" y="1993"/>
              <a:ext cx="575" cy="224"/>
            </a:xfrm>
            <a:custGeom>
              <a:avLst/>
              <a:gdLst/>
              <a:ahLst/>
              <a:cxnLst>
                <a:cxn ang="0">
                  <a:pos x="808" y="848"/>
                </a:cxn>
                <a:cxn ang="0">
                  <a:pos x="900" y="806"/>
                </a:cxn>
                <a:cxn ang="0">
                  <a:pos x="1065" y="770"/>
                </a:cxn>
                <a:cxn ang="0">
                  <a:pos x="1155" y="745"/>
                </a:cxn>
                <a:cxn ang="0">
                  <a:pos x="1138" y="786"/>
                </a:cxn>
                <a:cxn ang="0">
                  <a:pos x="1153" y="778"/>
                </a:cxn>
                <a:cxn ang="0">
                  <a:pos x="1170" y="783"/>
                </a:cxn>
                <a:cxn ang="0">
                  <a:pos x="1195" y="907"/>
                </a:cxn>
                <a:cxn ang="0">
                  <a:pos x="1251" y="851"/>
                </a:cxn>
                <a:cxn ang="0">
                  <a:pos x="1351" y="794"/>
                </a:cxn>
                <a:cxn ang="0">
                  <a:pos x="1489" y="743"/>
                </a:cxn>
                <a:cxn ang="0">
                  <a:pos x="1576" y="733"/>
                </a:cxn>
                <a:cxn ang="0">
                  <a:pos x="1593" y="723"/>
                </a:cxn>
                <a:cxn ang="0">
                  <a:pos x="1539" y="650"/>
                </a:cxn>
                <a:cxn ang="0">
                  <a:pos x="1506" y="454"/>
                </a:cxn>
                <a:cxn ang="0">
                  <a:pos x="1608" y="392"/>
                </a:cxn>
                <a:cxn ang="0">
                  <a:pos x="1691" y="505"/>
                </a:cxn>
                <a:cxn ang="0">
                  <a:pos x="1696" y="597"/>
                </a:cxn>
                <a:cxn ang="0">
                  <a:pos x="1721" y="710"/>
                </a:cxn>
                <a:cxn ang="0">
                  <a:pos x="17" y="967"/>
                </a:cxn>
                <a:cxn ang="0">
                  <a:pos x="57" y="949"/>
                </a:cxn>
                <a:cxn ang="0">
                  <a:pos x="260" y="959"/>
                </a:cxn>
                <a:cxn ang="0">
                  <a:pos x="1041" y="783"/>
                </a:cxn>
                <a:cxn ang="0">
                  <a:pos x="1539" y="716"/>
                </a:cxn>
                <a:cxn ang="0">
                  <a:pos x="1954" y="710"/>
                </a:cxn>
                <a:cxn ang="0">
                  <a:pos x="2169" y="612"/>
                </a:cxn>
                <a:cxn ang="0">
                  <a:pos x="2113" y="612"/>
                </a:cxn>
                <a:cxn ang="0">
                  <a:pos x="1726" y="492"/>
                </a:cxn>
                <a:cxn ang="0">
                  <a:pos x="1818" y="455"/>
                </a:cxn>
                <a:cxn ang="0">
                  <a:pos x="1916" y="394"/>
                </a:cxn>
                <a:cxn ang="0">
                  <a:pos x="1979" y="352"/>
                </a:cxn>
                <a:cxn ang="0">
                  <a:pos x="1714" y="673"/>
                </a:cxn>
                <a:cxn ang="0">
                  <a:pos x="1698" y="691"/>
                </a:cxn>
                <a:cxn ang="0">
                  <a:pos x="1761" y="623"/>
                </a:cxn>
                <a:cxn ang="0">
                  <a:pos x="1858" y="590"/>
                </a:cxn>
                <a:cxn ang="0">
                  <a:pos x="1986" y="537"/>
                </a:cxn>
                <a:cxn ang="0">
                  <a:pos x="2079" y="480"/>
                </a:cxn>
                <a:cxn ang="0">
                  <a:pos x="2096" y="480"/>
                </a:cxn>
                <a:cxn ang="0">
                  <a:pos x="2068" y="85"/>
                </a:cxn>
                <a:cxn ang="0">
                  <a:pos x="2146" y="37"/>
                </a:cxn>
                <a:cxn ang="0">
                  <a:pos x="2243" y="2"/>
                </a:cxn>
                <a:cxn ang="0">
                  <a:pos x="2309" y="35"/>
                </a:cxn>
                <a:cxn ang="0">
                  <a:pos x="2266" y="98"/>
                </a:cxn>
                <a:cxn ang="0">
                  <a:pos x="2141" y="244"/>
                </a:cxn>
                <a:cxn ang="0">
                  <a:pos x="2241" y="239"/>
                </a:cxn>
                <a:cxn ang="0">
                  <a:pos x="2323" y="231"/>
                </a:cxn>
                <a:cxn ang="0">
                  <a:pos x="2294" y="258"/>
                </a:cxn>
                <a:cxn ang="0">
                  <a:pos x="2196" y="344"/>
                </a:cxn>
                <a:cxn ang="0">
                  <a:pos x="2213" y="344"/>
                </a:cxn>
                <a:cxn ang="0">
                  <a:pos x="2328" y="342"/>
                </a:cxn>
                <a:cxn ang="0">
                  <a:pos x="2298" y="424"/>
                </a:cxn>
                <a:cxn ang="0">
                  <a:pos x="2308" y="502"/>
                </a:cxn>
                <a:cxn ang="0">
                  <a:pos x="2507" y="472"/>
                </a:cxn>
                <a:cxn ang="0">
                  <a:pos x="2534" y="507"/>
                </a:cxn>
              </a:cxnLst>
              <a:rect l="0" t="0" r="r" b="b"/>
              <a:pathLst>
                <a:path w="2535" h="985" extrusionOk="0">
                  <a:moveTo>
                    <a:pt x="808" y="848"/>
                  </a:moveTo>
                  <a:cubicBezTo>
                    <a:pt x="840" y="827"/>
                    <a:pt x="862" y="811"/>
                    <a:pt x="900" y="806"/>
                  </a:cubicBezTo>
                  <a:cubicBezTo>
                    <a:pt x="957" y="798"/>
                    <a:pt x="1010" y="790"/>
                    <a:pt x="1065" y="770"/>
                  </a:cubicBezTo>
                  <a:cubicBezTo>
                    <a:pt x="1084" y="763"/>
                    <a:pt x="1134" y="739"/>
                    <a:pt x="1155" y="745"/>
                  </a:cubicBezTo>
                  <a:cubicBezTo>
                    <a:pt x="1214" y="762"/>
                    <a:pt x="1145" y="767"/>
                    <a:pt x="1138" y="786"/>
                  </a:cubicBezTo>
                  <a:cubicBezTo>
                    <a:pt x="1143" y="783"/>
                    <a:pt x="1148" y="781"/>
                    <a:pt x="1153" y="778"/>
                  </a:cubicBezTo>
                  <a:cubicBezTo>
                    <a:pt x="1159" y="780"/>
                    <a:pt x="1164" y="781"/>
                    <a:pt x="1170" y="783"/>
                  </a:cubicBezTo>
                  <a:cubicBezTo>
                    <a:pt x="1181" y="824"/>
                    <a:pt x="1184" y="866"/>
                    <a:pt x="1195" y="907"/>
                  </a:cubicBezTo>
                  <a:cubicBezTo>
                    <a:pt x="1220" y="891"/>
                    <a:pt x="1229" y="882"/>
                    <a:pt x="1251" y="851"/>
                  </a:cubicBezTo>
                  <a:cubicBezTo>
                    <a:pt x="1272" y="822"/>
                    <a:pt x="1320" y="810"/>
                    <a:pt x="1351" y="794"/>
                  </a:cubicBezTo>
                  <a:cubicBezTo>
                    <a:pt x="1394" y="772"/>
                    <a:pt x="1440" y="749"/>
                    <a:pt x="1489" y="743"/>
                  </a:cubicBezTo>
                  <a:cubicBezTo>
                    <a:pt x="1518" y="739"/>
                    <a:pt x="1548" y="744"/>
                    <a:pt x="1576" y="733"/>
                  </a:cubicBezTo>
                  <a:cubicBezTo>
                    <a:pt x="1582" y="730"/>
                    <a:pt x="1587" y="726"/>
                    <a:pt x="1593" y="723"/>
                  </a:cubicBezTo>
                  <a:cubicBezTo>
                    <a:pt x="1579" y="705"/>
                    <a:pt x="1554" y="676"/>
                    <a:pt x="1539" y="650"/>
                  </a:cubicBezTo>
                  <a:cubicBezTo>
                    <a:pt x="1508" y="596"/>
                    <a:pt x="1481" y="516"/>
                    <a:pt x="1506" y="454"/>
                  </a:cubicBezTo>
                  <a:cubicBezTo>
                    <a:pt x="1519" y="422"/>
                    <a:pt x="1577" y="378"/>
                    <a:pt x="1608" y="392"/>
                  </a:cubicBezTo>
                  <a:cubicBezTo>
                    <a:pt x="1629" y="401"/>
                    <a:pt x="1685" y="481"/>
                    <a:pt x="1691" y="505"/>
                  </a:cubicBezTo>
                  <a:cubicBezTo>
                    <a:pt x="1699" y="534"/>
                    <a:pt x="1696" y="568"/>
                    <a:pt x="1696" y="597"/>
                  </a:cubicBezTo>
                  <a:cubicBezTo>
                    <a:pt x="1696" y="646"/>
                    <a:pt x="1702" y="669"/>
                    <a:pt x="1721" y="710"/>
                  </a:cubicBezTo>
                </a:path>
                <a:path w="2535" h="985" extrusionOk="0">
                  <a:moveTo>
                    <a:pt x="17" y="967"/>
                  </a:moveTo>
                  <a:cubicBezTo>
                    <a:pt x="41" y="946"/>
                    <a:pt x="25" y="952"/>
                    <a:pt x="57" y="949"/>
                  </a:cubicBezTo>
                  <a:cubicBezTo>
                    <a:pt x="124" y="944"/>
                    <a:pt x="193" y="959"/>
                    <a:pt x="260" y="959"/>
                  </a:cubicBezTo>
                  <a:cubicBezTo>
                    <a:pt x="525" y="957"/>
                    <a:pt x="789" y="853"/>
                    <a:pt x="1041" y="783"/>
                  </a:cubicBezTo>
                  <a:cubicBezTo>
                    <a:pt x="1208" y="737"/>
                    <a:pt x="1366" y="705"/>
                    <a:pt x="1539" y="716"/>
                  </a:cubicBezTo>
                  <a:cubicBezTo>
                    <a:pt x="1684" y="725"/>
                    <a:pt x="1812" y="752"/>
                    <a:pt x="1954" y="710"/>
                  </a:cubicBezTo>
                  <a:cubicBezTo>
                    <a:pt x="2031" y="687"/>
                    <a:pt x="2099" y="651"/>
                    <a:pt x="2169" y="612"/>
                  </a:cubicBezTo>
                  <a:cubicBezTo>
                    <a:pt x="2115" y="628"/>
                    <a:pt x="2151" y="619"/>
                    <a:pt x="2113" y="612"/>
                  </a:cubicBezTo>
                </a:path>
                <a:path w="2535" h="985" extrusionOk="0">
                  <a:moveTo>
                    <a:pt x="1726" y="492"/>
                  </a:moveTo>
                  <a:cubicBezTo>
                    <a:pt x="1760" y="488"/>
                    <a:pt x="1787" y="473"/>
                    <a:pt x="1818" y="455"/>
                  </a:cubicBezTo>
                  <a:cubicBezTo>
                    <a:pt x="1851" y="435"/>
                    <a:pt x="1883" y="415"/>
                    <a:pt x="1916" y="394"/>
                  </a:cubicBezTo>
                  <a:cubicBezTo>
                    <a:pt x="1937" y="380"/>
                    <a:pt x="1958" y="366"/>
                    <a:pt x="1979" y="352"/>
                  </a:cubicBezTo>
                </a:path>
                <a:path w="2535" h="985" extrusionOk="0">
                  <a:moveTo>
                    <a:pt x="1714" y="673"/>
                  </a:moveTo>
                  <a:cubicBezTo>
                    <a:pt x="1709" y="679"/>
                    <a:pt x="1703" y="685"/>
                    <a:pt x="1698" y="691"/>
                  </a:cubicBezTo>
                  <a:cubicBezTo>
                    <a:pt x="1712" y="661"/>
                    <a:pt x="1729" y="638"/>
                    <a:pt x="1761" y="623"/>
                  </a:cubicBezTo>
                  <a:cubicBezTo>
                    <a:pt x="1792" y="609"/>
                    <a:pt x="1826" y="600"/>
                    <a:pt x="1858" y="590"/>
                  </a:cubicBezTo>
                  <a:cubicBezTo>
                    <a:pt x="1901" y="576"/>
                    <a:pt x="1946" y="558"/>
                    <a:pt x="1986" y="537"/>
                  </a:cubicBezTo>
                  <a:cubicBezTo>
                    <a:pt x="2015" y="522"/>
                    <a:pt x="2049" y="490"/>
                    <a:pt x="2079" y="480"/>
                  </a:cubicBezTo>
                  <a:cubicBezTo>
                    <a:pt x="2085" y="480"/>
                    <a:pt x="2090" y="480"/>
                    <a:pt x="2096" y="480"/>
                  </a:cubicBezTo>
                </a:path>
                <a:path w="2535" h="985" extrusionOk="0">
                  <a:moveTo>
                    <a:pt x="2068" y="85"/>
                  </a:moveTo>
                  <a:cubicBezTo>
                    <a:pt x="2091" y="67"/>
                    <a:pt x="2120" y="48"/>
                    <a:pt x="2146" y="37"/>
                  </a:cubicBezTo>
                  <a:cubicBezTo>
                    <a:pt x="2176" y="25"/>
                    <a:pt x="2211" y="9"/>
                    <a:pt x="2243" y="2"/>
                  </a:cubicBezTo>
                  <a:cubicBezTo>
                    <a:pt x="2273" y="-5"/>
                    <a:pt x="2315" y="-6"/>
                    <a:pt x="2309" y="35"/>
                  </a:cubicBezTo>
                  <a:cubicBezTo>
                    <a:pt x="2306" y="56"/>
                    <a:pt x="2278" y="82"/>
                    <a:pt x="2266" y="98"/>
                  </a:cubicBezTo>
                </a:path>
                <a:path w="2535" h="985" extrusionOk="0">
                  <a:moveTo>
                    <a:pt x="2141" y="244"/>
                  </a:moveTo>
                  <a:cubicBezTo>
                    <a:pt x="2176" y="246"/>
                    <a:pt x="2207" y="242"/>
                    <a:pt x="2241" y="239"/>
                  </a:cubicBezTo>
                  <a:cubicBezTo>
                    <a:pt x="2246" y="239"/>
                    <a:pt x="2323" y="229"/>
                    <a:pt x="2323" y="231"/>
                  </a:cubicBezTo>
                  <a:cubicBezTo>
                    <a:pt x="2311" y="250"/>
                    <a:pt x="2309" y="256"/>
                    <a:pt x="2294" y="258"/>
                  </a:cubicBezTo>
                </a:path>
                <a:path w="2535" h="985" extrusionOk="0">
                  <a:moveTo>
                    <a:pt x="2196" y="344"/>
                  </a:moveTo>
                  <a:cubicBezTo>
                    <a:pt x="2202" y="344"/>
                    <a:pt x="2207" y="344"/>
                    <a:pt x="2213" y="344"/>
                  </a:cubicBezTo>
                </a:path>
                <a:path w="2535" h="985" extrusionOk="0">
                  <a:moveTo>
                    <a:pt x="2328" y="342"/>
                  </a:moveTo>
                  <a:cubicBezTo>
                    <a:pt x="2325" y="377"/>
                    <a:pt x="2308" y="393"/>
                    <a:pt x="2298" y="424"/>
                  </a:cubicBezTo>
                  <a:cubicBezTo>
                    <a:pt x="2291" y="447"/>
                    <a:pt x="2302" y="480"/>
                    <a:pt x="2308" y="502"/>
                  </a:cubicBezTo>
                </a:path>
                <a:path w="2535" h="985" extrusionOk="0">
                  <a:moveTo>
                    <a:pt x="2507" y="472"/>
                  </a:moveTo>
                  <a:cubicBezTo>
                    <a:pt x="2524" y="488"/>
                    <a:pt x="2529" y="492"/>
                    <a:pt x="2534" y="507"/>
                  </a:cubicBezTo>
                </a:path>
              </a:pathLst>
            </a:custGeom>
            <a:grpFill/>
            <a:ln w="19050" cap="rnd">
              <a:solidFill>
                <a:schemeClr val="tx1"/>
              </a:solidFill>
              <a:round/>
              <a:headEnd/>
              <a:tailEnd/>
            </a:ln>
          </p:spPr>
          <p:txBody>
            <a:bodyPr>
              <a:prstTxWarp prst="textNoShape">
                <a:avLst/>
              </a:prstTxWarp>
            </a:bodyPr>
            <a:lstStyle/>
            <a:p>
              <a:pPr>
                <a:defRPr/>
              </a:pPr>
              <a:endParaRPr lang="en-US">
                <a:latin typeface="Arial" charset="0"/>
                <a:ea typeface="ＭＳ Ｐゴシック" charset="-128"/>
                <a:cs typeface="ＭＳ Ｐゴシック" charset="-128"/>
              </a:endParaRPr>
            </a:p>
          </p:txBody>
        </p:sp>
      </p:grpSp>
      <p:grpSp>
        <p:nvGrpSpPr>
          <p:cNvPr id="3" name="Group 32"/>
          <p:cNvGrpSpPr>
            <a:grpSpLocks/>
          </p:cNvGrpSpPr>
          <p:nvPr/>
        </p:nvGrpSpPr>
        <p:grpSpPr bwMode="auto">
          <a:xfrm>
            <a:off x="5995988" y="2314575"/>
            <a:ext cx="658812" cy="528638"/>
            <a:chOff x="1238" y="1093"/>
            <a:chExt cx="1709" cy="1371"/>
          </a:xfrm>
          <a:solidFill>
            <a:schemeClr val="bg1"/>
          </a:solidFill>
        </p:grpSpPr>
        <p:sp>
          <p:nvSpPr>
            <p:cNvPr id="16" name="AutoShape 33"/>
            <p:cNvSpPr>
              <a:spLocks noChangeArrowheads="1"/>
            </p:cNvSpPr>
            <p:nvPr/>
          </p:nvSpPr>
          <p:spPr bwMode="auto">
            <a:xfrm rot="16200000">
              <a:off x="1407" y="924"/>
              <a:ext cx="1371" cy="1709"/>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grpFill/>
            <a:ln w="9525">
              <a:solidFill>
                <a:schemeClr val="tx1"/>
              </a:solidFill>
              <a:miter lim="800000"/>
              <a:headEnd/>
              <a:tailEnd/>
            </a:ln>
            <a:effectLst/>
          </p:spPr>
          <p:txBody>
            <a:bodyPr vert="eaVert" wrap="none" anchor="ctr">
              <a:prstTxWarp prst="textNoShape">
                <a:avLst/>
              </a:prstTxWarp>
            </a:bodyPr>
            <a:lstStyle/>
            <a:p>
              <a:pPr algn="ctr">
                <a:defRPr/>
              </a:pPr>
              <a:endParaRPr lang="en-US">
                <a:latin typeface="Arial" charset="0"/>
                <a:ea typeface="ＭＳ Ｐゴシック" charset="-128"/>
                <a:cs typeface="ＭＳ Ｐゴシック" charset="-128"/>
              </a:endParaRPr>
            </a:p>
          </p:txBody>
        </p:sp>
        <p:sp>
          <p:nvSpPr>
            <p:cNvPr id="17" name="Freeform 34"/>
            <p:cNvSpPr>
              <a:spLocks noRot="1" noChangeAspect="1" noEditPoints="1" noChangeArrowheads="1" noChangeShapeType="1" noTextEdit="1"/>
            </p:cNvSpPr>
            <p:nvPr/>
          </p:nvSpPr>
          <p:spPr bwMode="auto">
            <a:xfrm>
              <a:off x="1270" y="1163"/>
              <a:ext cx="1651" cy="1063"/>
            </a:xfrm>
            <a:custGeom>
              <a:avLst/>
              <a:gdLst/>
              <a:ahLst/>
              <a:cxnLst>
                <a:cxn ang="0">
                  <a:pos x="1830" y="1773"/>
                </a:cxn>
                <a:cxn ang="0">
                  <a:pos x="655" y="3227"/>
                </a:cxn>
                <a:cxn ang="0">
                  <a:pos x="360" y="1971"/>
                </a:cxn>
                <a:cxn ang="0">
                  <a:pos x="3009" y="1572"/>
                </a:cxn>
                <a:cxn ang="0">
                  <a:pos x="3121" y="1444"/>
                </a:cxn>
                <a:cxn ang="0">
                  <a:pos x="3183" y="2077"/>
                </a:cxn>
                <a:cxn ang="0">
                  <a:pos x="1315" y="2212"/>
                </a:cxn>
                <a:cxn ang="0">
                  <a:pos x="5882" y="3133"/>
                </a:cxn>
                <a:cxn ang="0">
                  <a:pos x="5879" y="3811"/>
                </a:cxn>
                <a:cxn ang="0">
                  <a:pos x="6205" y="3864"/>
                </a:cxn>
                <a:cxn ang="0">
                  <a:pos x="4404" y="1569"/>
                </a:cxn>
                <a:cxn ang="0">
                  <a:pos x="4884" y="1908"/>
                </a:cxn>
                <a:cxn ang="0">
                  <a:pos x="6298" y="1504"/>
                </a:cxn>
                <a:cxn ang="0">
                  <a:pos x="6073" y="1982"/>
                </a:cxn>
                <a:cxn ang="0">
                  <a:pos x="2895" y="3804"/>
                </a:cxn>
                <a:cxn ang="0">
                  <a:pos x="3311" y="4057"/>
                </a:cxn>
                <a:cxn ang="0">
                  <a:pos x="2998" y="4633"/>
                </a:cxn>
                <a:cxn ang="0">
                  <a:pos x="1328" y="309"/>
                </a:cxn>
                <a:cxn ang="0">
                  <a:pos x="4049" y="3533"/>
                </a:cxn>
                <a:cxn ang="0">
                  <a:pos x="2668" y="2955"/>
                </a:cxn>
                <a:cxn ang="0">
                  <a:pos x="2580" y="2316"/>
                </a:cxn>
                <a:cxn ang="0">
                  <a:pos x="3091" y="3138"/>
                </a:cxn>
                <a:cxn ang="0">
                  <a:pos x="2756" y="3246"/>
                </a:cxn>
                <a:cxn ang="0">
                  <a:pos x="2998" y="3344"/>
                </a:cxn>
                <a:cxn ang="0">
                  <a:pos x="2845" y="2652"/>
                </a:cxn>
                <a:cxn ang="0">
                  <a:pos x="6283" y="3360"/>
                </a:cxn>
                <a:cxn ang="0">
                  <a:pos x="6693" y="3430"/>
                </a:cxn>
                <a:cxn ang="0">
                  <a:pos x="6713" y="4015"/>
                </a:cxn>
                <a:cxn ang="0">
                  <a:pos x="7038" y="3355"/>
                </a:cxn>
                <a:cxn ang="0">
                  <a:pos x="7011" y="1441"/>
                </a:cxn>
                <a:cxn ang="0">
                  <a:pos x="6878" y="1778"/>
                </a:cxn>
                <a:cxn ang="0">
                  <a:pos x="7050" y="1743"/>
                </a:cxn>
                <a:cxn ang="0">
                  <a:pos x="7138" y="2051"/>
                </a:cxn>
                <a:cxn ang="0">
                  <a:pos x="5567" y="1745"/>
                </a:cxn>
                <a:cxn ang="0">
                  <a:pos x="5305" y="1836"/>
                </a:cxn>
                <a:cxn ang="0">
                  <a:pos x="5422" y="2232"/>
                </a:cxn>
                <a:cxn ang="0">
                  <a:pos x="3981" y="1643"/>
                </a:cxn>
                <a:cxn ang="0">
                  <a:pos x="4116" y="1869"/>
                </a:cxn>
                <a:cxn ang="0">
                  <a:pos x="3689" y="1869"/>
                </a:cxn>
                <a:cxn ang="0">
                  <a:pos x="5367" y="2604"/>
                </a:cxn>
                <a:cxn ang="0">
                  <a:pos x="5404" y="3315"/>
                </a:cxn>
                <a:cxn ang="0">
                  <a:pos x="5135" y="3264"/>
                </a:cxn>
                <a:cxn ang="0">
                  <a:pos x="1936" y="3189"/>
                </a:cxn>
                <a:cxn ang="0">
                  <a:pos x="2690" y="2945"/>
                </a:cxn>
                <a:cxn ang="0">
                  <a:pos x="872" y="2950"/>
                </a:cxn>
                <a:cxn ang="0">
                  <a:pos x="770" y="3131"/>
                </a:cxn>
                <a:cxn ang="0">
                  <a:pos x="1860" y="3141"/>
                </a:cxn>
                <a:cxn ang="0">
                  <a:pos x="1773" y="3212"/>
                </a:cxn>
                <a:cxn ang="0">
                  <a:pos x="2395" y="2772"/>
                </a:cxn>
                <a:cxn ang="0">
                  <a:pos x="2241" y="2835"/>
                </a:cxn>
                <a:cxn ang="0">
                  <a:pos x="2225" y="1642"/>
                </a:cxn>
                <a:cxn ang="0">
                  <a:pos x="2016" y="2714"/>
                </a:cxn>
                <a:cxn ang="0">
                  <a:pos x="2078" y="1933"/>
                </a:cxn>
                <a:cxn ang="0">
                  <a:pos x="1065" y="2777"/>
                </a:cxn>
                <a:cxn ang="0">
                  <a:pos x="2210" y="440"/>
                </a:cxn>
                <a:cxn ang="0">
                  <a:pos x="2246" y="787"/>
                </a:cxn>
                <a:cxn ang="0">
                  <a:pos x="3719" y="997"/>
                </a:cxn>
                <a:cxn ang="0">
                  <a:pos x="3886" y="1215"/>
                </a:cxn>
                <a:cxn ang="0">
                  <a:pos x="3898" y="4143"/>
                </a:cxn>
              </a:cxnLst>
              <a:rect l="0" t="0" r="r" b="b"/>
              <a:pathLst>
                <a:path w="7282" h="4686" extrusionOk="0">
                  <a:moveTo>
                    <a:pt x="862" y="1361"/>
                  </a:moveTo>
                  <a:cubicBezTo>
                    <a:pt x="855" y="1331"/>
                    <a:pt x="821" y="1335"/>
                    <a:pt x="825" y="1304"/>
                  </a:cubicBezTo>
                  <a:cubicBezTo>
                    <a:pt x="846" y="1148"/>
                    <a:pt x="980" y="933"/>
                    <a:pt x="1093" y="831"/>
                  </a:cubicBezTo>
                  <a:cubicBezTo>
                    <a:pt x="1173" y="759"/>
                    <a:pt x="1289" y="667"/>
                    <a:pt x="1375" y="786"/>
                  </a:cubicBezTo>
                  <a:cubicBezTo>
                    <a:pt x="1456" y="898"/>
                    <a:pt x="1450" y="1128"/>
                    <a:pt x="1408" y="1254"/>
                  </a:cubicBezTo>
                  <a:cubicBezTo>
                    <a:pt x="1399" y="1282"/>
                    <a:pt x="1387" y="1277"/>
                    <a:pt x="1375" y="1304"/>
                  </a:cubicBezTo>
                  <a:cubicBezTo>
                    <a:pt x="1411" y="1236"/>
                    <a:pt x="1385" y="1211"/>
                    <a:pt x="1477" y="1186"/>
                  </a:cubicBezTo>
                  <a:cubicBezTo>
                    <a:pt x="1607" y="1151"/>
                    <a:pt x="1836" y="1231"/>
                    <a:pt x="1911" y="1341"/>
                  </a:cubicBezTo>
                  <a:cubicBezTo>
                    <a:pt x="2016" y="1495"/>
                    <a:pt x="1930" y="1656"/>
                    <a:pt x="1830" y="1773"/>
                  </a:cubicBezTo>
                  <a:cubicBezTo>
                    <a:pt x="1886" y="1714"/>
                    <a:pt x="1915" y="1662"/>
                    <a:pt x="2000" y="1623"/>
                  </a:cubicBezTo>
                  <a:cubicBezTo>
                    <a:pt x="2139" y="1559"/>
                    <a:pt x="2316" y="1540"/>
                    <a:pt x="2403" y="1693"/>
                  </a:cubicBezTo>
                  <a:cubicBezTo>
                    <a:pt x="2563" y="1973"/>
                    <a:pt x="2342" y="2339"/>
                    <a:pt x="2145" y="2531"/>
                  </a:cubicBezTo>
                  <a:cubicBezTo>
                    <a:pt x="2055" y="2619"/>
                    <a:pt x="1958" y="2700"/>
                    <a:pt x="1863" y="2782"/>
                  </a:cubicBezTo>
                  <a:cubicBezTo>
                    <a:pt x="1903" y="2769"/>
                    <a:pt x="1957" y="2743"/>
                    <a:pt x="2001" y="2735"/>
                  </a:cubicBezTo>
                  <a:cubicBezTo>
                    <a:pt x="2056" y="2725"/>
                    <a:pt x="2127" y="2714"/>
                    <a:pt x="2171" y="2760"/>
                  </a:cubicBezTo>
                  <a:cubicBezTo>
                    <a:pt x="2265" y="2860"/>
                    <a:pt x="2138" y="3007"/>
                    <a:pt x="2066" y="3069"/>
                  </a:cubicBezTo>
                  <a:cubicBezTo>
                    <a:pt x="1858" y="3247"/>
                    <a:pt x="1450" y="3246"/>
                    <a:pt x="1197" y="3265"/>
                  </a:cubicBezTo>
                  <a:cubicBezTo>
                    <a:pt x="1050" y="3276"/>
                    <a:pt x="787" y="3322"/>
                    <a:pt x="655" y="3227"/>
                  </a:cubicBezTo>
                  <a:cubicBezTo>
                    <a:pt x="572" y="3167"/>
                    <a:pt x="640" y="3089"/>
                    <a:pt x="677" y="3028"/>
                  </a:cubicBezTo>
                  <a:cubicBezTo>
                    <a:pt x="736" y="2931"/>
                    <a:pt x="877" y="2850"/>
                    <a:pt x="987" y="2852"/>
                  </a:cubicBezTo>
                  <a:cubicBezTo>
                    <a:pt x="992" y="2858"/>
                    <a:pt x="998" y="2864"/>
                    <a:pt x="1003" y="2870"/>
                  </a:cubicBezTo>
                  <a:cubicBezTo>
                    <a:pt x="954" y="2955"/>
                    <a:pt x="943" y="3034"/>
                    <a:pt x="815" y="3051"/>
                  </a:cubicBezTo>
                  <a:cubicBezTo>
                    <a:pt x="606" y="3079"/>
                    <a:pt x="447" y="2895"/>
                    <a:pt x="335" y="2745"/>
                  </a:cubicBezTo>
                  <a:cubicBezTo>
                    <a:pt x="163" y="2514"/>
                    <a:pt x="24" y="2191"/>
                    <a:pt x="164" y="1913"/>
                  </a:cubicBezTo>
                  <a:cubicBezTo>
                    <a:pt x="226" y="1790"/>
                    <a:pt x="311" y="1708"/>
                    <a:pt x="414" y="1628"/>
                  </a:cubicBezTo>
                  <a:cubicBezTo>
                    <a:pt x="420" y="1674"/>
                    <a:pt x="437" y="1698"/>
                    <a:pt x="425" y="1763"/>
                  </a:cubicBezTo>
                  <a:cubicBezTo>
                    <a:pt x="412" y="1836"/>
                    <a:pt x="384" y="1902"/>
                    <a:pt x="360" y="1971"/>
                  </a:cubicBezTo>
                  <a:cubicBezTo>
                    <a:pt x="371" y="1863"/>
                    <a:pt x="385" y="1755"/>
                    <a:pt x="400" y="1647"/>
                  </a:cubicBezTo>
                  <a:cubicBezTo>
                    <a:pt x="418" y="1523"/>
                    <a:pt x="438" y="1401"/>
                    <a:pt x="469" y="1283"/>
                  </a:cubicBezTo>
                  <a:cubicBezTo>
                    <a:pt x="513" y="1294"/>
                    <a:pt x="562" y="1303"/>
                    <a:pt x="609" y="1319"/>
                  </a:cubicBezTo>
                  <a:cubicBezTo>
                    <a:pt x="675" y="1342"/>
                    <a:pt x="739" y="1368"/>
                    <a:pt x="804" y="1394"/>
                  </a:cubicBezTo>
                </a:path>
                <a:path w="7282" h="4686" extrusionOk="0">
                  <a:moveTo>
                    <a:pt x="2766" y="885"/>
                  </a:moveTo>
                  <a:cubicBezTo>
                    <a:pt x="2785" y="914"/>
                    <a:pt x="2791" y="945"/>
                    <a:pt x="2800" y="979"/>
                  </a:cubicBezTo>
                  <a:cubicBezTo>
                    <a:pt x="2813" y="1026"/>
                    <a:pt x="2837" y="1071"/>
                    <a:pt x="2855" y="1117"/>
                  </a:cubicBezTo>
                  <a:cubicBezTo>
                    <a:pt x="2884" y="1190"/>
                    <a:pt x="2910" y="1264"/>
                    <a:pt x="2934" y="1339"/>
                  </a:cubicBezTo>
                  <a:cubicBezTo>
                    <a:pt x="2959" y="1416"/>
                    <a:pt x="2978" y="1498"/>
                    <a:pt x="3009" y="1572"/>
                  </a:cubicBezTo>
                  <a:cubicBezTo>
                    <a:pt x="3014" y="1585"/>
                    <a:pt x="3049" y="1672"/>
                    <a:pt x="3079" y="1662"/>
                  </a:cubicBezTo>
                  <a:cubicBezTo>
                    <a:pt x="3086" y="1651"/>
                    <a:pt x="3094" y="1639"/>
                    <a:pt x="3101" y="1628"/>
                  </a:cubicBezTo>
                </a:path>
                <a:path w="7282" h="4686" extrusionOk="0">
                  <a:moveTo>
                    <a:pt x="2865" y="944"/>
                  </a:moveTo>
                  <a:cubicBezTo>
                    <a:pt x="2900" y="902"/>
                    <a:pt x="2929" y="880"/>
                    <a:pt x="2973" y="851"/>
                  </a:cubicBezTo>
                  <a:cubicBezTo>
                    <a:pt x="3006" y="829"/>
                    <a:pt x="3040" y="816"/>
                    <a:pt x="3079" y="834"/>
                  </a:cubicBezTo>
                  <a:cubicBezTo>
                    <a:pt x="3117" y="851"/>
                    <a:pt x="3126" y="898"/>
                    <a:pt x="3133" y="934"/>
                  </a:cubicBezTo>
                  <a:cubicBezTo>
                    <a:pt x="3143" y="985"/>
                    <a:pt x="3141" y="1040"/>
                    <a:pt x="3141" y="1092"/>
                  </a:cubicBezTo>
                  <a:cubicBezTo>
                    <a:pt x="3141" y="1165"/>
                    <a:pt x="3136" y="1236"/>
                    <a:pt x="3133" y="1309"/>
                  </a:cubicBezTo>
                  <a:cubicBezTo>
                    <a:pt x="3131" y="1355"/>
                    <a:pt x="3121" y="1397"/>
                    <a:pt x="3121" y="1444"/>
                  </a:cubicBezTo>
                  <a:cubicBezTo>
                    <a:pt x="3123" y="1473"/>
                    <a:pt x="3124" y="1483"/>
                    <a:pt x="3124" y="1502"/>
                  </a:cubicBezTo>
                </a:path>
                <a:path w="7282" h="4686" extrusionOk="0">
                  <a:moveTo>
                    <a:pt x="3188" y="2107"/>
                  </a:moveTo>
                  <a:cubicBezTo>
                    <a:pt x="3175" y="2161"/>
                    <a:pt x="3157" y="2211"/>
                    <a:pt x="3153" y="2265"/>
                  </a:cubicBezTo>
                  <a:cubicBezTo>
                    <a:pt x="3150" y="2300"/>
                    <a:pt x="3159" y="2337"/>
                    <a:pt x="3204" y="2328"/>
                  </a:cubicBezTo>
                  <a:cubicBezTo>
                    <a:pt x="3268" y="2316"/>
                    <a:pt x="3324" y="2251"/>
                    <a:pt x="3361" y="2203"/>
                  </a:cubicBezTo>
                  <a:cubicBezTo>
                    <a:pt x="3400" y="2153"/>
                    <a:pt x="3425" y="2113"/>
                    <a:pt x="3418" y="2052"/>
                  </a:cubicBezTo>
                  <a:cubicBezTo>
                    <a:pt x="3364" y="2040"/>
                    <a:pt x="3316" y="2055"/>
                    <a:pt x="3266" y="2085"/>
                  </a:cubicBezTo>
                  <a:cubicBezTo>
                    <a:pt x="3231" y="2106"/>
                    <a:pt x="3158" y="2156"/>
                    <a:pt x="3166" y="2115"/>
                  </a:cubicBezTo>
                  <a:cubicBezTo>
                    <a:pt x="3172" y="2102"/>
                    <a:pt x="3177" y="2090"/>
                    <a:pt x="3183" y="2077"/>
                  </a:cubicBezTo>
                </a:path>
                <a:path w="7282" h="4686" extrusionOk="0">
                  <a:moveTo>
                    <a:pt x="918" y="1901"/>
                  </a:moveTo>
                  <a:cubicBezTo>
                    <a:pt x="950" y="1919"/>
                    <a:pt x="985" y="1916"/>
                    <a:pt x="1023" y="1919"/>
                  </a:cubicBezTo>
                  <a:cubicBezTo>
                    <a:pt x="1093" y="1924"/>
                    <a:pt x="1162" y="1927"/>
                    <a:pt x="1232" y="1934"/>
                  </a:cubicBezTo>
                  <a:cubicBezTo>
                    <a:pt x="1303" y="1941"/>
                    <a:pt x="1373" y="1951"/>
                    <a:pt x="1443" y="1962"/>
                  </a:cubicBezTo>
                  <a:cubicBezTo>
                    <a:pt x="1481" y="1968"/>
                    <a:pt x="1517" y="1975"/>
                    <a:pt x="1555" y="1984"/>
                  </a:cubicBezTo>
                </a:path>
                <a:path w="7282" h="4686" extrusionOk="0">
                  <a:moveTo>
                    <a:pt x="1052" y="2179"/>
                  </a:moveTo>
                  <a:cubicBezTo>
                    <a:pt x="1039" y="2194"/>
                    <a:pt x="1034" y="2199"/>
                    <a:pt x="1045" y="2212"/>
                  </a:cubicBezTo>
                  <a:cubicBezTo>
                    <a:pt x="1074" y="2214"/>
                    <a:pt x="1102" y="2214"/>
                    <a:pt x="1132" y="2213"/>
                  </a:cubicBezTo>
                  <a:cubicBezTo>
                    <a:pt x="1193" y="2211"/>
                    <a:pt x="1254" y="2212"/>
                    <a:pt x="1315" y="2212"/>
                  </a:cubicBezTo>
                  <a:cubicBezTo>
                    <a:pt x="1368" y="2212"/>
                    <a:pt x="1421" y="2215"/>
                    <a:pt x="1473" y="2222"/>
                  </a:cubicBezTo>
                  <a:cubicBezTo>
                    <a:pt x="1505" y="2226"/>
                    <a:pt x="1530" y="2234"/>
                    <a:pt x="1560" y="2245"/>
                  </a:cubicBezTo>
                </a:path>
                <a:path w="7282" h="4686" extrusionOk="0">
                  <a:moveTo>
                    <a:pt x="1047" y="2556"/>
                  </a:moveTo>
                  <a:cubicBezTo>
                    <a:pt x="1027" y="2550"/>
                    <a:pt x="1020" y="2546"/>
                    <a:pt x="1013" y="2531"/>
                  </a:cubicBezTo>
                  <a:cubicBezTo>
                    <a:pt x="1034" y="2505"/>
                    <a:pt x="1052" y="2514"/>
                    <a:pt x="1088" y="2519"/>
                  </a:cubicBezTo>
                  <a:cubicBezTo>
                    <a:pt x="1167" y="2530"/>
                    <a:pt x="1238" y="2534"/>
                    <a:pt x="1318" y="2529"/>
                  </a:cubicBezTo>
                  <a:cubicBezTo>
                    <a:pt x="1417" y="2523"/>
                    <a:pt x="1516" y="2514"/>
                    <a:pt x="1615" y="2506"/>
                  </a:cubicBezTo>
                </a:path>
                <a:path w="7282" h="4686" extrusionOk="0">
                  <a:moveTo>
                    <a:pt x="5802" y="3091"/>
                  </a:moveTo>
                  <a:cubicBezTo>
                    <a:pt x="5804" y="3091"/>
                    <a:pt x="5845" y="3101"/>
                    <a:pt x="5882" y="3133"/>
                  </a:cubicBezTo>
                  <a:cubicBezTo>
                    <a:pt x="5942" y="3185"/>
                    <a:pt x="5998" y="3240"/>
                    <a:pt x="6053" y="3297"/>
                  </a:cubicBezTo>
                  <a:cubicBezTo>
                    <a:pt x="6116" y="3362"/>
                    <a:pt x="6177" y="3427"/>
                    <a:pt x="6233" y="3498"/>
                  </a:cubicBezTo>
                  <a:cubicBezTo>
                    <a:pt x="6272" y="3547"/>
                    <a:pt x="6313" y="3638"/>
                    <a:pt x="6370" y="3669"/>
                  </a:cubicBezTo>
                  <a:cubicBezTo>
                    <a:pt x="6375" y="3670"/>
                    <a:pt x="6380" y="3670"/>
                    <a:pt x="6385" y="3671"/>
                  </a:cubicBezTo>
                </a:path>
                <a:path w="7282" h="4686" extrusionOk="0">
                  <a:moveTo>
                    <a:pt x="6448" y="3011"/>
                  </a:moveTo>
                  <a:cubicBezTo>
                    <a:pt x="6424" y="3027"/>
                    <a:pt x="6405" y="3056"/>
                    <a:pt x="6377" y="3096"/>
                  </a:cubicBezTo>
                  <a:cubicBezTo>
                    <a:pt x="6316" y="3183"/>
                    <a:pt x="6259" y="3273"/>
                    <a:pt x="6202" y="3364"/>
                  </a:cubicBezTo>
                  <a:cubicBezTo>
                    <a:pt x="6137" y="3468"/>
                    <a:pt x="6071" y="3569"/>
                    <a:pt x="6002" y="3669"/>
                  </a:cubicBezTo>
                  <a:cubicBezTo>
                    <a:pt x="5963" y="3725"/>
                    <a:pt x="5935" y="3772"/>
                    <a:pt x="5879" y="3811"/>
                  </a:cubicBezTo>
                </a:path>
                <a:path w="7282" h="4686" extrusionOk="0">
                  <a:moveTo>
                    <a:pt x="5782" y="3520"/>
                  </a:moveTo>
                  <a:cubicBezTo>
                    <a:pt x="5762" y="3498"/>
                    <a:pt x="5788" y="3493"/>
                    <a:pt x="5817" y="3478"/>
                  </a:cubicBezTo>
                  <a:cubicBezTo>
                    <a:pt x="5854" y="3459"/>
                    <a:pt x="5894" y="3444"/>
                    <a:pt x="5930" y="3423"/>
                  </a:cubicBezTo>
                  <a:cubicBezTo>
                    <a:pt x="5993" y="3387"/>
                    <a:pt x="6053" y="3351"/>
                    <a:pt x="6107" y="3302"/>
                  </a:cubicBezTo>
                  <a:cubicBezTo>
                    <a:pt x="6153" y="3256"/>
                    <a:pt x="6168" y="3241"/>
                    <a:pt x="6195" y="3207"/>
                  </a:cubicBezTo>
                </a:path>
                <a:path w="7282" h="4686" extrusionOk="0">
                  <a:moveTo>
                    <a:pt x="6142" y="2981"/>
                  </a:moveTo>
                  <a:cubicBezTo>
                    <a:pt x="6136" y="3082"/>
                    <a:pt x="6133" y="3186"/>
                    <a:pt x="6143" y="3287"/>
                  </a:cubicBezTo>
                  <a:cubicBezTo>
                    <a:pt x="6155" y="3407"/>
                    <a:pt x="6180" y="3526"/>
                    <a:pt x="6190" y="3646"/>
                  </a:cubicBezTo>
                  <a:cubicBezTo>
                    <a:pt x="6196" y="3718"/>
                    <a:pt x="6199" y="3791"/>
                    <a:pt x="6205" y="3864"/>
                  </a:cubicBezTo>
                </a:path>
                <a:path w="7282" h="4686" extrusionOk="0">
                  <a:moveTo>
                    <a:pt x="4371" y="1254"/>
                  </a:moveTo>
                  <a:cubicBezTo>
                    <a:pt x="4406" y="1251"/>
                    <a:pt x="4441" y="1245"/>
                    <a:pt x="4476" y="1243"/>
                  </a:cubicBezTo>
                  <a:cubicBezTo>
                    <a:pt x="4537" y="1239"/>
                    <a:pt x="4598" y="1233"/>
                    <a:pt x="4659" y="1230"/>
                  </a:cubicBezTo>
                  <a:cubicBezTo>
                    <a:pt x="4755" y="1226"/>
                    <a:pt x="4851" y="1223"/>
                    <a:pt x="4947" y="1218"/>
                  </a:cubicBezTo>
                  <a:cubicBezTo>
                    <a:pt x="5037" y="1214"/>
                    <a:pt x="5127" y="1215"/>
                    <a:pt x="5217" y="1216"/>
                  </a:cubicBezTo>
                  <a:cubicBezTo>
                    <a:pt x="5246" y="1216"/>
                    <a:pt x="5321" y="1215"/>
                    <a:pt x="5339" y="1249"/>
                  </a:cubicBezTo>
                  <a:cubicBezTo>
                    <a:pt x="5341" y="1259"/>
                    <a:pt x="5343" y="1268"/>
                    <a:pt x="5345" y="1278"/>
                  </a:cubicBezTo>
                </a:path>
                <a:path w="7282" h="4686" extrusionOk="0">
                  <a:moveTo>
                    <a:pt x="4461" y="1552"/>
                  </a:moveTo>
                  <a:cubicBezTo>
                    <a:pt x="4429" y="1571"/>
                    <a:pt x="4423" y="1585"/>
                    <a:pt x="4404" y="1569"/>
                  </a:cubicBezTo>
                  <a:cubicBezTo>
                    <a:pt x="4436" y="1545"/>
                    <a:pt x="4456" y="1539"/>
                    <a:pt x="4496" y="1534"/>
                  </a:cubicBezTo>
                  <a:cubicBezTo>
                    <a:pt x="4558" y="1527"/>
                    <a:pt x="4620" y="1534"/>
                    <a:pt x="4682" y="1539"/>
                  </a:cubicBezTo>
                  <a:cubicBezTo>
                    <a:pt x="4770" y="1547"/>
                    <a:pt x="4858" y="1557"/>
                    <a:pt x="4947" y="1562"/>
                  </a:cubicBezTo>
                  <a:cubicBezTo>
                    <a:pt x="5027" y="1567"/>
                    <a:pt x="5107" y="1564"/>
                    <a:pt x="5187" y="1565"/>
                  </a:cubicBezTo>
                  <a:cubicBezTo>
                    <a:pt x="5221" y="1565"/>
                    <a:pt x="5254" y="1569"/>
                    <a:pt x="5287" y="1575"/>
                  </a:cubicBezTo>
                </a:path>
                <a:path w="7282" h="4686" extrusionOk="0">
                  <a:moveTo>
                    <a:pt x="4456" y="1856"/>
                  </a:moveTo>
                  <a:cubicBezTo>
                    <a:pt x="4399" y="1865"/>
                    <a:pt x="4491" y="1859"/>
                    <a:pt x="4504" y="1861"/>
                  </a:cubicBezTo>
                  <a:cubicBezTo>
                    <a:pt x="4555" y="1867"/>
                    <a:pt x="4605" y="1876"/>
                    <a:pt x="4656" y="1883"/>
                  </a:cubicBezTo>
                  <a:cubicBezTo>
                    <a:pt x="4732" y="1893"/>
                    <a:pt x="4808" y="1897"/>
                    <a:pt x="4884" y="1908"/>
                  </a:cubicBezTo>
                  <a:cubicBezTo>
                    <a:pt x="4951" y="1918"/>
                    <a:pt x="5018" y="1932"/>
                    <a:pt x="5085" y="1944"/>
                  </a:cubicBezTo>
                  <a:cubicBezTo>
                    <a:pt x="5095" y="1946"/>
                    <a:pt x="5104" y="1947"/>
                    <a:pt x="5114" y="1949"/>
                  </a:cubicBezTo>
                </a:path>
                <a:path w="7282" h="4686" extrusionOk="0">
                  <a:moveTo>
                    <a:pt x="4351" y="2187"/>
                  </a:moveTo>
                  <a:cubicBezTo>
                    <a:pt x="4407" y="2179"/>
                    <a:pt x="4464" y="2160"/>
                    <a:pt x="4522" y="2150"/>
                  </a:cubicBezTo>
                  <a:cubicBezTo>
                    <a:pt x="4612" y="2135"/>
                    <a:pt x="4699" y="2132"/>
                    <a:pt x="4789" y="2144"/>
                  </a:cubicBezTo>
                  <a:cubicBezTo>
                    <a:pt x="4861" y="2154"/>
                    <a:pt x="4933" y="2170"/>
                    <a:pt x="5004" y="2184"/>
                  </a:cubicBezTo>
                </a:path>
                <a:path w="7282" h="4686" extrusionOk="0">
                  <a:moveTo>
                    <a:pt x="6005" y="1474"/>
                  </a:moveTo>
                  <a:cubicBezTo>
                    <a:pt x="6042" y="1467"/>
                    <a:pt x="6072" y="1477"/>
                    <a:pt x="6110" y="1482"/>
                  </a:cubicBezTo>
                  <a:cubicBezTo>
                    <a:pt x="6172" y="1489"/>
                    <a:pt x="6235" y="1501"/>
                    <a:pt x="6298" y="1504"/>
                  </a:cubicBezTo>
                  <a:cubicBezTo>
                    <a:pt x="6360" y="1507"/>
                    <a:pt x="6421" y="1509"/>
                    <a:pt x="6483" y="1510"/>
                  </a:cubicBezTo>
                  <a:cubicBezTo>
                    <a:pt x="6515" y="1512"/>
                    <a:pt x="6524" y="1513"/>
                    <a:pt x="6545" y="1512"/>
                  </a:cubicBezTo>
                </a:path>
                <a:path w="7282" h="4686" extrusionOk="0">
                  <a:moveTo>
                    <a:pt x="6068" y="1728"/>
                  </a:moveTo>
                  <a:cubicBezTo>
                    <a:pt x="6061" y="1725"/>
                    <a:pt x="6054" y="1723"/>
                    <a:pt x="6047" y="1720"/>
                  </a:cubicBezTo>
                  <a:cubicBezTo>
                    <a:pt x="6080" y="1745"/>
                    <a:pt x="6108" y="1771"/>
                    <a:pt x="6145" y="1790"/>
                  </a:cubicBezTo>
                  <a:cubicBezTo>
                    <a:pt x="6191" y="1814"/>
                    <a:pt x="6236" y="1822"/>
                    <a:pt x="6287" y="1826"/>
                  </a:cubicBezTo>
                  <a:cubicBezTo>
                    <a:pt x="6338" y="1830"/>
                    <a:pt x="6387" y="1831"/>
                    <a:pt x="6438" y="1831"/>
                  </a:cubicBezTo>
                </a:path>
                <a:path w="7282" h="4686" extrusionOk="0">
                  <a:moveTo>
                    <a:pt x="5965" y="1982"/>
                  </a:moveTo>
                  <a:cubicBezTo>
                    <a:pt x="6001" y="1992"/>
                    <a:pt x="6034" y="1983"/>
                    <a:pt x="6073" y="1982"/>
                  </a:cubicBezTo>
                  <a:cubicBezTo>
                    <a:pt x="6124" y="1980"/>
                    <a:pt x="6177" y="1983"/>
                    <a:pt x="6228" y="1979"/>
                  </a:cubicBezTo>
                  <a:cubicBezTo>
                    <a:pt x="6263" y="1976"/>
                    <a:pt x="6297" y="1972"/>
                    <a:pt x="6332" y="1971"/>
                  </a:cubicBezTo>
                </a:path>
                <a:path w="7282" h="4686" extrusionOk="0">
                  <a:moveTo>
                    <a:pt x="5954" y="2288"/>
                  </a:moveTo>
                  <a:cubicBezTo>
                    <a:pt x="5934" y="2305"/>
                    <a:pt x="5928" y="2309"/>
                    <a:pt x="5922" y="2326"/>
                  </a:cubicBezTo>
                  <a:cubicBezTo>
                    <a:pt x="5960" y="2334"/>
                    <a:pt x="5999" y="2336"/>
                    <a:pt x="6038" y="2341"/>
                  </a:cubicBezTo>
                  <a:cubicBezTo>
                    <a:pt x="6090" y="2347"/>
                    <a:pt x="6144" y="2351"/>
                    <a:pt x="6195" y="2363"/>
                  </a:cubicBezTo>
                  <a:cubicBezTo>
                    <a:pt x="6225" y="2370"/>
                    <a:pt x="6250" y="2375"/>
                    <a:pt x="6280" y="2378"/>
                  </a:cubicBezTo>
                </a:path>
                <a:path w="7282" h="4686" extrusionOk="0">
                  <a:moveTo>
                    <a:pt x="2823" y="3852"/>
                  </a:moveTo>
                  <a:cubicBezTo>
                    <a:pt x="2841" y="3815"/>
                    <a:pt x="2855" y="3811"/>
                    <a:pt x="2895" y="3804"/>
                  </a:cubicBezTo>
                  <a:cubicBezTo>
                    <a:pt x="2948" y="3795"/>
                    <a:pt x="3002" y="3792"/>
                    <a:pt x="3056" y="3786"/>
                  </a:cubicBezTo>
                  <a:cubicBezTo>
                    <a:pt x="3133" y="3777"/>
                    <a:pt x="3211" y="3765"/>
                    <a:pt x="3289" y="3759"/>
                  </a:cubicBezTo>
                  <a:cubicBezTo>
                    <a:pt x="3350" y="3754"/>
                    <a:pt x="3414" y="3741"/>
                    <a:pt x="3474" y="3759"/>
                  </a:cubicBezTo>
                  <a:cubicBezTo>
                    <a:pt x="3496" y="3770"/>
                    <a:pt x="3502" y="3772"/>
                    <a:pt x="3514" y="3781"/>
                  </a:cubicBezTo>
                </a:path>
                <a:path w="7282" h="4686" extrusionOk="0">
                  <a:moveTo>
                    <a:pt x="2863" y="4176"/>
                  </a:moveTo>
                  <a:cubicBezTo>
                    <a:pt x="2856" y="4176"/>
                    <a:pt x="2850" y="4176"/>
                    <a:pt x="2843" y="4176"/>
                  </a:cubicBezTo>
                  <a:cubicBezTo>
                    <a:pt x="2853" y="4133"/>
                    <a:pt x="2892" y="4112"/>
                    <a:pt x="2933" y="4093"/>
                  </a:cubicBezTo>
                  <a:cubicBezTo>
                    <a:pt x="2993" y="4065"/>
                    <a:pt x="3063" y="4051"/>
                    <a:pt x="3129" y="4045"/>
                  </a:cubicBezTo>
                  <a:cubicBezTo>
                    <a:pt x="3189" y="4040"/>
                    <a:pt x="3252" y="4048"/>
                    <a:pt x="3311" y="4057"/>
                  </a:cubicBezTo>
                  <a:cubicBezTo>
                    <a:pt x="3340" y="4062"/>
                    <a:pt x="3367" y="4067"/>
                    <a:pt x="3396" y="4070"/>
                  </a:cubicBezTo>
                </a:path>
                <a:path w="7282" h="4686" extrusionOk="0">
                  <a:moveTo>
                    <a:pt x="2949" y="4366"/>
                  </a:moveTo>
                  <a:cubicBezTo>
                    <a:pt x="2980" y="4362"/>
                    <a:pt x="3010" y="4347"/>
                    <a:pt x="3041" y="4344"/>
                  </a:cubicBezTo>
                  <a:cubicBezTo>
                    <a:pt x="3084" y="4339"/>
                    <a:pt x="3122" y="4349"/>
                    <a:pt x="3164" y="4357"/>
                  </a:cubicBezTo>
                  <a:cubicBezTo>
                    <a:pt x="3207" y="4365"/>
                    <a:pt x="3250" y="4375"/>
                    <a:pt x="3294" y="4376"/>
                  </a:cubicBezTo>
                  <a:cubicBezTo>
                    <a:pt x="3319" y="4376"/>
                    <a:pt x="3340" y="4370"/>
                    <a:pt x="3363" y="4362"/>
                  </a:cubicBezTo>
                </a:path>
                <a:path w="7282" h="4686" extrusionOk="0">
                  <a:moveTo>
                    <a:pt x="2738" y="4672"/>
                  </a:moveTo>
                  <a:cubicBezTo>
                    <a:pt x="2707" y="4696"/>
                    <a:pt x="2776" y="4682"/>
                    <a:pt x="2798" y="4680"/>
                  </a:cubicBezTo>
                  <a:cubicBezTo>
                    <a:pt x="2867" y="4673"/>
                    <a:pt x="2933" y="4655"/>
                    <a:pt x="2998" y="4633"/>
                  </a:cubicBezTo>
                  <a:cubicBezTo>
                    <a:pt x="3097" y="4600"/>
                    <a:pt x="3195" y="4556"/>
                    <a:pt x="3291" y="4515"/>
                  </a:cubicBezTo>
                  <a:cubicBezTo>
                    <a:pt x="3361" y="4483"/>
                    <a:pt x="3384" y="4473"/>
                    <a:pt x="3431" y="4454"/>
                  </a:cubicBezTo>
                </a:path>
                <a:path w="7282" h="4686" extrusionOk="0">
                  <a:moveTo>
                    <a:pt x="270" y="232"/>
                  </a:moveTo>
                  <a:cubicBezTo>
                    <a:pt x="252" y="213"/>
                    <a:pt x="248" y="208"/>
                    <a:pt x="235" y="186"/>
                  </a:cubicBezTo>
                  <a:cubicBezTo>
                    <a:pt x="260" y="207"/>
                    <a:pt x="259" y="208"/>
                    <a:pt x="289" y="221"/>
                  </a:cubicBezTo>
                  <a:cubicBezTo>
                    <a:pt x="409" y="271"/>
                    <a:pt x="552" y="261"/>
                    <a:pt x="679" y="259"/>
                  </a:cubicBezTo>
                  <a:cubicBezTo>
                    <a:pt x="789" y="257"/>
                    <a:pt x="898" y="248"/>
                    <a:pt x="1008" y="249"/>
                  </a:cubicBezTo>
                  <a:cubicBezTo>
                    <a:pt x="1079" y="250"/>
                    <a:pt x="1146" y="260"/>
                    <a:pt x="1215" y="274"/>
                  </a:cubicBezTo>
                  <a:cubicBezTo>
                    <a:pt x="1237" y="279"/>
                    <a:pt x="1312" y="287"/>
                    <a:pt x="1328" y="309"/>
                  </a:cubicBezTo>
                  <a:cubicBezTo>
                    <a:pt x="1330" y="329"/>
                    <a:pt x="1331" y="335"/>
                    <a:pt x="1323" y="347"/>
                  </a:cubicBezTo>
                </a:path>
                <a:path w="7282" h="4686" extrusionOk="0">
                  <a:moveTo>
                    <a:pt x="217" y="679"/>
                  </a:moveTo>
                  <a:cubicBezTo>
                    <a:pt x="221" y="636"/>
                    <a:pt x="230" y="620"/>
                    <a:pt x="280" y="611"/>
                  </a:cubicBezTo>
                  <a:cubicBezTo>
                    <a:pt x="350" y="599"/>
                    <a:pt x="426" y="598"/>
                    <a:pt x="497" y="595"/>
                  </a:cubicBezTo>
                  <a:cubicBezTo>
                    <a:pt x="636" y="590"/>
                    <a:pt x="774" y="586"/>
                    <a:pt x="913" y="593"/>
                  </a:cubicBezTo>
                  <a:cubicBezTo>
                    <a:pt x="1000" y="597"/>
                    <a:pt x="1087" y="604"/>
                    <a:pt x="1173" y="618"/>
                  </a:cubicBezTo>
                  <a:cubicBezTo>
                    <a:pt x="1188" y="620"/>
                    <a:pt x="1279" y="653"/>
                    <a:pt x="1293" y="644"/>
                  </a:cubicBezTo>
                  <a:cubicBezTo>
                    <a:pt x="1311" y="649"/>
                    <a:pt x="1314" y="648"/>
                    <a:pt x="1292" y="630"/>
                  </a:cubicBezTo>
                </a:path>
                <a:path w="7282" h="4686" extrusionOk="0">
                  <a:moveTo>
                    <a:pt x="4049" y="3533"/>
                  </a:moveTo>
                  <a:cubicBezTo>
                    <a:pt x="4056" y="3514"/>
                    <a:pt x="4057" y="3508"/>
                    <a:pt x="4071" y="3503"/>
                  </a:cubicBezTo>
                  <a:cubicBezTo>
                    <a:pt x="4075" y="3540"/>
                    <a:pt x="4070" y="3561"/>
                    <a:pt x="4049" y="3593"/>
                  </a:cubicBezTo>
                  <a:cubicBezTo>
                    <a:pt x="4034" y="3616"/>
                    <a:pt x="4017" y="3637"/>
                    <a:pt x="4007" y="3663"/>
                  </a:cubicBezTo>
                  <a:cubicBezTo>
                    <a:pt x="3995" y="3694"/>
                    <a:pt x="3974" y="3745"/>
                    <a:pt x="4012" y="3764"/>
                  </a:cubicBezTo>
                  <a:cubicBezTo>
                    <a:pt x="4049" y="3783"/>
                    <a:pt x="4120" y="3754"/>
                    <a:pt x="4157" y="3749"/>
                  </a:cubicBezTo>
                  <a:cubicBezTo>
                    <a:pt x="4199" y="3744"/>
                    <a:pt x="4238" y="3751"/>
                    <a:pt x="4279" y="3756"/>
                  </a:cubicBezTo>
                  <a:cubicBezTo>
                    <a:pt x="4311" y="3759"/>
                    <a:pt x="4344" y="3776"/>
                    <a:pt x="4376" y="3776"/>
                  </a:cubicBezTo>
                  <a:cubicBezTo>
                    <a:pt x="4383" y="3775"/>
                    <a:pt x="4389" y="3773"/>
                    <a:pt x="4396" y="3772"/>
                  </a:cubicBezTo>
                </a:path>
                <a:path w="7282" h="4686" extrusionOk="0">
                  <a:moveTo>
                    <a:pt x="2668" y="2955"/>
                  </a:moveTo>
                  <a:cubicBezTo>
                    <a:pt x="2662" y="3015"/>
                    <a:pt x="2668" y="3074"/>
                    <a:pt x="2671" y="3134"/>
                  </a:cubicBezTo>
                  <a:cubicBezTo>
                    <a:pt x="2673" y="3175"/>
                    <a:pt x="2674" y="3220"/>
                    <a:pt x="2685" y="3260"/>
                  </a:cubicBezTo>
                  <a:cubicBezTo>
                    <a:pt x="2692" y="3284"/>
                    <a:pt x="2700" y="3308"/>
                    <a:pt x="2708" y="3332"/>
                  </a:cubicBezTo>
                </a:path>
                <a:path w="7282" h="4686" extrusionOk="0">
                  <a:moveTo>
                    <a:pt x="2748" y="2832"/>
                  </a:moveTo>
                  <a:cubicBezTo>
                    <a:pt x="2735" y="2848"/>
                    <a:pt x="2705" y="2893"/>
                    <a:pt x="2683" y="2898"/>
                  </a:cubicBezTo>
                  <a:cubicBezTo>
                    <a:pt x="2655" y="2904"/>
                    <a:pt x="2634" y="2891"/>
                    <a:pt x="2610" y="2875"/>
                  </a:cubicBezTo>
                  <a:cubicBezTo>
                    <a:pt x="2553" y="2837"/>
                    <a:pt x="2514" y="2766"/>
                    <a:pt x="2488" y="2705"/>
                  </a:cubicBezTo>
                  <a:cubicBezTo>
                    <a:pt x="2455" y="2626"/>
                    <a:pt x="2436" y="2533"/>
                    <a:pt x="2465" y="2449"/>
                  </a:cubicBezTo>
                  <a:cubicBezTo>
                    <a:pt x="2484" y="2393"/>
                    <a:pt x="2531" y="2347"/>
                    <a:pt x="2580" y="2316"/>
                  </a:cubicBezTo>
                  <a:cubicBezTo>
                    <a:pt x="2650" y="2272"/>
                    <a:pt x="2741" y="2255"/>
                    <a:pt x="2823" y="2253"/>
                  </a:cubicBezTo>
                  <a:cubicBezTo>
                    <a:pt x="2904" y="2251"/>
                    <a:pt x="2979" y="2274"/>
                    <a:pt x="3051" y="2310"/>
                  </a:cubicBezTo>
                  <a:cubicBezTo>
                    <a:pt x="3100" y="2334"/>
                    <a:pt x="3145" y="2371"/>
                    <a:pt x="3166" y="2423"/>
                  </a:cubicBezTo>
                  <a:cubicBezTo>
                    <a:pt x="3183" y="2467"/>
                    <a:pt x="3171" y="2523"/>
                    <a:pt x="3148" y="2562"/>
                  </a:cubicBezTo>
                  <a:cubicBezTo>
                    <a:pt x="3133" y="2588"/>
                    <a:pt x="3106" y="2600"/>
                    <a:pt x="3089" y="2622"/>
                  </a:cubicBezTo>
                  <a:cubicBezTo>
                    <a:pt x="3087" y="2627"/>
                    <a:pt x="3086" y="2632"/>
                    <a:pt x="3084" y="2637"/>
                  </a:cubicBezTo>
                  <a:cubicBezTo>
                    <a:pt x="3119" y="2648"/>
                    <a:pt x="3142" y="2628"/>
                    <a:pt x="3146" y="2677"/>
                  </a:cubicBezTo>
                  <a:cubicBezTo>
                    <a:pt x="3152" y="2757"/>
                    <a:pt x="3117" y="2850"/>
                    <a:pt x="3109" y="2930"/>
                  </a:cubicBezTo>
                  <a:cubicBezTo>
                    <a:pt x="3103" y="2989"/>
                    <a:pt x="3121" y="3085"/>
                    <a:pt x="3091" y="3138"/>
                  </a:cubicBezTo>
                  <a:cubicBezTo>
                    <a:pt x="3072" y="3172"/>
                    <a:pt x="3089" y="3146"/>
                    <a:pt x="3068" y="3123"/>
                  </a:cubicBezTo>
                </a:path>
                <a:path w="7282" h="4686" extrusionOk="0">
                  <a:moveTo>
                    <a:pt x="2670" y="3172"/>
                  </a:moveTo>
                  <a:cubicBezTo>
                    <a:pt x="2604" y="3207"/>
                    <a:pt x="2722" y="3150"/>
                    <a:pt x="2731" y="3146"/>
                  </a:cubicBezTo>
                  <a:cubicBezTo>
                    <a:pt x="2790" y="3122"/>
                    <a:pt x="2849" y="3102"/>
                    <a:pt x="2911" y="3086"/>
                  </a:cubicBezTo>
                  <a:cubicBezTo>
                    <a:pt x="2961" y="3073"/>
                    <a:pt x="3012" y="3065"/>
                    <a:pt x="3064" y="3063"/>
                  </a:cubicBezTo>
                  <a:cubicBezTo>
                    <a:pt x="3082" y="3062"/>
                    <a:pt x="3100" y="3062"/>
                    <a:pt x="3118" y="3061"/>
                  </a:cubicBezTo>
                  <a:cubicBezTo>
                    <a:pt x="3084" y="3075"/>
                    <a:pt x="3051" y="3090"/>
                    <a:pt x="3018" y="3108"/>
                  </a:cubicBezTo>
                  <a:cubicBezTo>
                    <a:pt x="2967" y="3136"/>
                    <a:pt x="2915" y="3163"/>
                    <a:pt x="2865" y="3191"/>
                  </a:cubicBezTo>
                  <a:cubicBezTo>
                    <a:pt x="2830" y="3211"/>
                    <a:pt x="2795" y="3233"/>
                    <a:pt x="2756" y="3246"/>
                  </a:cubicBezTo>
                  <a:cubicBezTo>
                    <a:pt x="2751" y="3247"/>
                    <a:pt x="2746" y="3248"/>
                    <a:pt x="2741" y="3249"/>
                  </a:cubicBezTo>
                  <a:cubicBezTo>
                    <a:pt x="2771" y="3244"/>
                    <a:pt x="2798" y="3245"/>
                    <a:pt x="2828" y="3244"/>
                  </a:cubicBezTo>
                  <a:cubicBezTo>
                    <a:pt x="2866" y="3242"/>
                    <a:pt x="2904" y="3241"/>
                    <a:pt x="2941" y="3236"/>
                  </a:cubicBezTo>
                  <a:cubicBezTo>
                    <a:pt x="2985" y="3230"/>
                    <a:pt x="3029" y="3218"/>
                    <a:pt x="3074" y="3216"/>
                  </a:cubicBezTo>
                  <a:cubicBezTo>
                    <a:pt x="3079" y="3216"/>
                    <a:pt x="3084" y="3216"/>
                    <a:pt x="3089" y="3216"/>
                  </a:cubicBezTo>
                  <a:cubicBezTo>
                    <a:pt x="3085" y="3249"/>
                    <a:pt x="3059" y="3260"/>
                    <a:pt x="3029" y="3280"/>
                  </a:cubicBezTo>
                  <a:cubicBezTo>
                    <a:pt x="2992" y="3304"/>
                    <a:pt x="2953" y="3326"/>
                    <a:pt x="2916" y="3349"/>
                  </a:cubicBezTo>
                  <a:cubicBezTo>
                    <a:pt x="2899" y="3359"/>
                    <a:pt x="2894" y="3362"/>
                    <a:pt x="2891" y="3375"/>
                  </a:cubicBezTo>
                  <a:cubicBezTo>
                    <a:pt x="2928" y="3367"/>
                    <a:pt x="2962" y="3355"/>
                    <a:pt x="2998" y="3344"/>
                  </a:cubicBezTo>
                  <a:cubicBezTo>
                    <a:pt x="3027" y="3335"/>
                    <a:pt x="3049" y="3322"/>
                    <a:pt x="3079" y="3315"/>
                  </a:cubicBezTo>
                </a:path>
                <a:path w="7282" h="4686" extrusionOk="0">
                  <a:moveTo>
                    <a:pt x="2878" y="3119"/>
                  </a:moveTo>
                  <a:cubicBezTo>
                    <a:pt x="2897" y="3102"/>
                    <a:pt x="2904" y="3100"/>
                    <a:pt x="2909" y="3064"/>
                  </a:cubicBezTo>
                  <a:cubicBezTo>
                    <a:pt x="2915" y="3021"/>
                    <a:pt x="2909" y="2978"/>
                    <a:pt x="2900" y="2936"/>
                  </a:cubicBezTo>
                  <a:cubicBezTo>
                    <a:pt x="2883" y="2859"/>
                    <a:pt x="2854" y="2786"/>
                    <a:pt x="2823" y="2714"/>
                  </a:cubicBezTo>
                  <a:cubicBezTo>
                    <a:pt x="2796" y="2652"/>
                    <a:pt x="2764" y="2595"/>
                    <a:pt x="2731" y="2536"/>
                  </a:cubicBezTo>
                  <a:cubicBezTo>
                    <a:pt x="2719" y="2513"/>
                    <a:pt x="2716" y="2507"/>
                    <a:pt x="2711" y="2491"/>
                  </a:cubicBezTo>
                  <a:cubicBezTo>
                    <a:pt x="2744" y="2505"/>
                    <a:pt x="2760" y="2518"/>
                    <a:pt x="2781" y="2546"/>
                  </a:cubicBezTo>
                  <a:cubicBezTo>
                    <a:pt x="2806" y="2579"/>
                    <a:pt x="2826" y="2615"/>
                    <a:pt x="2845" y="2652"/>
                  </a:cubicBezTo>
                  <a:cubicBezTo>
                    <a:pt x="2860" y="2682"/>
                    <a:pt x="2872" y="2716"/>
                    <a:pt x="2890" y="2744"/>
                  </a:cubicBezTo>
                  <a:cubicBezTo>
                    <a:pt x="2894" y="2749"/>
                    <a:pt x="2899" y="2755"/>
                    <a:pt x="2903" y="2760"/>
                  </a:cubicBezTo>
                  <a:cubicBezTo>
                    <a:pt x="2915" y="2725"/>
                    <a:pt x="2918" y="2697"/>
                    <a:pt x="2916" y="2659"/>
                  </a:cubicBezTo>
                  <a:cubicBezTo>
                    <a:pt x="2914" y="2629"/>
                    <a:pt x="2909" y="2598"/>
                    <a:pt x="2904" y="2569"/>
                  </a:cubicBezTo>
                  <a:cubicBezTo>
                    <a:pt x="2934" y="2597"/>
                    <a:pt x="2954" y="2614"/>
                    <a:pt x="2993" y="2627"/>
                  </a:cubicBezTo>
                  <a:cubicBezTo>
                    <a:pt x="3022" y="2637"/>
                    <a:pt x="3039" y="2643"/>
                    <a:pt x="3069" y="2632"/>
                  </a:cubicBezTo>
                  <a:cubicBezTo>
                    <a:pt x="3090" y="2624"/>
                    <a:pt x="3097" y="2621"/>
                    <a:pt x="3109" y="2611"/>
                  </a:cubicBezTo>
                </a:path>
                <a:path w="7282" h="4686" extrusionOk="0">
                  <a:moveTo>
                    <a:pt x="6302" y="3420"/>
                  </a:moveTo>
                  <a:cubicBezTo>
                    <a:pt x="6294" y="3400"/>
                    <a:pt x="6288" y="3381"/>
                    <a:pt x="6283" y="3360"/>
                  </a:cubicBezTo>
                  <a:cubicBezTo>
                    <a:pt x="6301" y="3386"/>
                    <a:pt x="6312" y="3391"/>
                    <a:pt x="6345" y="3393"/>
                  </a:cubicBezTo>
                  <a:cubicBezTo>
                    <a:pt x="6374" y="3394"/>
                    <a:pt x="6392" y="3391"/>
                    <a:pt x="6417" y="3375"/>
                  </a:cubicBezTo>
                  <a:cubicBezTo>
                    <a:pt x="6442" y="3359"/>
                    <a:pt x="6468" y="3337"/>
                    <a:pt x="6488" y="3314"/>
                  </a:cubicBezTo>
                  <a:cubicBezTo>
                    <a:pt x="6510" y="3289"/>
                    <a:pt x="6529" y="3258"/>
                    <a:pt x="6545" y="3229"/>
                  </a:cubicBezTo>
                  <a:cubicBezTo>
                    <a:pt x="6560" y="3202"/>
                    <a:pt x="6572" y="3154"/>
                    <a:pt x="6605" y="3144"/>
                  </a:cubicBezTo>
                  <a:cubicBezTo>
                    <a:pt x="6626" y="3138"/>
                    <a:pt x="6665" y="3151"/>
                    <a:pt x="6683" y="3161"/>
                  </a:cubicBezTo>
                  <a:cubicBezTo>
                    <a:pt x="6714" y="3178"/>
                    <a:pt x="6744" y="3204"/>
                    <a:pt x="6773" y="3224"/>
                  </a:cubicBezTo>
                  <a:cubicBezTo>
                    <a:pt x="6803" y="3245"/>
                    <a:pt x="6799" y="3277"/>
                    <a:pt x="6815" y="3305"/>
                  </a:cubicBezTo>
                </a:path>
                <a:path w="7282" h="4686" extrusionOk="0">
                  <a:moveTo>
                    <a:pt x="6693" y="3430"/>
                  </a:moveTo>
                  <a:cubicBezTo>
                    <a:pt x="6683" y="3392"/>
                    <a:pt x="6703" y="3397"/>
                    <a:pt x="6740" y="3390"/>
                  </a:cubicBezTo>
                  <a:cubicBezTo>
                    <a:pt x="6771" y="3385"/>
                    <a:pt x="6802" y="3377"/>
                    <a:pt x="6832" y="3369"/>
                  </a:cubicBezTo>
                  <a:cubicBezTo>
                    <a:pt x="6874" y="3358"/>
                    <a:pt x="6917" y="3350"/>
                    <a:pt x="6960" y="3342"/>
                  </a:cubicBezTo>
                  <a:cubicBezTo>
                    <a:pt x="7002" y="3335"/>
                    <a:pt x="7036" y="3336"/>
                    <a:pt x="7075" y="3355"/>
                  </a:cubicBezTo>
                  <a:cubicBezTo>
                    <a:pt x="7090" y="3364"/>
                    <a:pt x="7095" y="3367"/>
                    <a:pt x="7085" y="3380"/>
                  </a:cubicBezTo>
                </a:path>
                <a:path w="7282" h="4686" extrusionOk="0">
                  <a:moveTo>
                    <a:pt x="6652" y="3510"/>
                  </a:moveTo>
                  <a:cubicBezTo>
                    <a:pt x="6685" y="3506"/>
                    <a:pt x="6681" y="3529"/>
                    <a:pt x="6688" y="3568"/>
                  </a:cubicBezTo>
                  <a:cubicBezTo>
                    <a:pt x="6699" y="3627"/>
                    <a:pt x="6711" y="3687"/>
                    <a:pt x="6717" y="3747"/>
                  </a:cubicBezTo>
                  <a:cubicBezTo>
                    <a:pt x="6725" y="3836"/>
                    <a:pt x="6725" y="3927"/>
                    <a:pt x="6713" y="4015"/>
                  </a:cubicBezTo>
                  <a:cubicBezTo>
                    <a:pt x="6709" y="4043"/>
                    <a:pt x="6705" y="4072"/>
                    <a:pt x="6702" y="4100"/>
                  </a:cubicBezTo>
                  <a:cubicBezTo>
                    <a:pt x="6729" y="4111"/>
                    <a:pt x="6752" y="4107"/>
                    <a:pt x="6783" y="4106"/>
                  </a:cubicBezTo>
                  <a:cubicBezTo>
                    <a:pt x="6821" y="4105"/>
                    <a:pt x="6859" y="4104"/>
                    <a:pt x="6897" y="4101"/>
                  </a:cubicBezTo>
                  <a:cubicBezTo>
                    <a:pt x="6939" y="4098"/>
                    <a:pt x="6977" y="4089"/>
                    <a:pt x="7018" y="4078"/>
                  </a:cubicBezTo>
                  <a:cubicBezTo>
                    <a:pt x="7063" y="4066"/>
                    <a:pt x="7089" y="4071"/>
                    <a:pt x="7131" y="4087"/>
                  </a:cubicBezTo>
                  <a:cubicBezTo>
                    <a:pt x="7125" y="4056"/>
                    <a:pt x="7119" y="4024"/>
                    <a:pt x="7113" y="3992"/>
                  </a:cubicBezTo>
                  <a:cubicBezTo>
                    <a:pt x="7086" y="3854"/>
                    <a:pt x="7067" y="3713"/>
                    <a:pt x="7053" y="3573"/>
                  </a:cubicBezTo>
                  <a:cubicBezTo>
                    <a:pt x="7047" y="3514"/>
                    <a:pt x="7042" y="3454"/>
                    <a:pt x="7040" y="3395"/>
                  </a:cubicBezTo>
                  <a:cubicBezTo>
                    <a:pt x="7040" y="3375"/>
                    <a:pt x="7040" y="3368"/>
                    <a:pt x="7038" y="3355"/>
                  </a:cubicBezTo>
                </a:path>
                <a:path w="7282" h="4686" extrusionOk="0">
                  <a:moveTo>
                    <a:pt x="5572" y="1520"/>
                  </a:moveTo>
                  <a:cubicBezTo>
                    <a:pt x="5597" y="1496"/>
                    <a:pt x="5620" y="1476"/>
                    <a:pt x="5650" y="1456"/>
                  </a:cubicBezTo>
                  <a:cubicBezTo>
                    <a:pt x="5683" y="1434"/>
                    <a:pt x="5718" y="1414"/>
                    <a:pt x="5752" y="1394"/>
                  </a:cubicBezTo>
                  <a:cubicBezTo>
                    <a:pt x="5803" y="1364"/>
                    <a:pt x="5854" y="1333"/>
                    <a:pt x="5907" y="1306"/>
                  </a:cubicBezTo>
                  <a:cubicBezTo>
                    <a:pt x="5996" y="1261"/>
                    <a:pt x="6091" y="1227"/>
                    <a:pt x="6187" y="1200"/>
                  </a:cubicBezTo>
                  <a:cubicBezTo>
                    <a:pt x="6367" y="1150"/>
                    <a:pt x="6607" y="1096"/>
                    <a:pt x="6783" y="1188"/>
                  </a:cubicBezTo>
                  <a:cubicBezTo>
                    <a:pt x="6825" y="1210"/>
                    <a:pt x="6860" y="1243"/>
                    <a:pt x="6890" y="1279"/>
                  </a:cubicBezTo>
                  <a:cubicBezTo>
                    <a:pt x="6914" y="1308"/>
                    <a:pt x="6936" y="1338"/>
                    <a:pt x="6962" y="1366"/>
                  </a:cubicBezTo>
                  <a:cubicBezTo>
                    <a:pt x="6987" y="1393"/>
                    <a:pt x="7003" y="1407"/>
                    <a:pt x="7011" y="1441"/>
                  </a:cubicBezTo>
                  <a:cubicBezTo>
                    <a:pt x="7011" y="1446"/>
                    <a:pt x="7010" y="1452"/>
                    <a:pt x="7010" y="1457"/>
                  </a:cubicBezTo>
                </a:path>
                <a:path w="7282" h="4686" extrusionOk="0">
                  <a:moveTo>
                    <a:pt x="5684" y="1903"/>
                  </a:moveTo>
                  <a:cubicBezTo>
                    <a:pt x="5698" y="1875"/>
                    <a:pt x="5705" y="1850"/>
                    <a:pt x="5724" y="1825"/>
                  </a:cubicBezTo>
                  <a:cubicBezTo>
                    <a:pt x="5745" y="1797"/>
                    <a:pt x="5771" y="1782"/>
                    <a:pt x="5802" y="1766"/>
                  </a:cubicBezTo>
                  <a:cubicBezTo>
                    <a:pt x="5869" y="1732"/>
                    <a:pt x="5939" y="1702"/>
                    <a:pt x="6007" y="1670"/>
                  </a:cubicBezTo>
                  <a:cubicBezTo>
                    <a:pt x="6145" y="1605"/>
                    <a:pt x="6301" y="1516"/>
                    <a:pt x="6457" y="1510"/>
                  </a:cubicBezTo>
                  <a:cubicBezTo>
                    <a:pt x="6517" y="1508"/>
                    <a:pt x="6582" y="1533"/>
                    <a:pt x="6625" y="1575"/>
                  </a:cubicBezTo>
                  <a:cubicBezTo>
                    <a:pt x="6686" y="1635"/>
                    <a:pt x="6717" y="1706"/>
                    <a:pt x="6795" y="1748"/>
                  </a:cubicBezTo>
                  <a:cubicBezTo>
                    <a:pt x="6821" y="1762"/>
                    <a:pt x="6850" y="1768"/>
                    <a:pt x="6878" y="1778"/>
                  </a:cubicBezTo>
                  <a:cubicBezTo>
                    <a:pt x="6937" y="1799"/>
                    <a:pt x="6850" y="1753"/>
                    <a:pt x="6843" y="1748"/>
                  </a:cubicBezTo>
                </a:path>
                <a:path w="7282" h="4686" extrusionOk="0">
                  <a:moveTo>
                    <a:pt x="6950" y="1426"/>
                  </a:moveTo>
                  <a:cubicBezTo>
                    <a:pt x="6978" y="1399"/>
                    <a:pt x="6946" y="1453"/>
                    <a:pt x="6948" y="1485"/>
                  </a:cubicBezTo>
                  <a:cubicBezTo>
                    <a:pt x="6951" y="1538"/>
                    <a:pt x="6956" y="1592"/>
                    <a:pt x="6957" y="1645"/>
                  </a:cubicBezTo>
                  <a:cubicBezTo>
                    <a:pt x="6958" y="1705"/>
                    <a:pt x="6952" y="1765"/>
                    <a:pt x="6950" y="1825"/>
                  </a:cubicBezTo>
                  <a:cubicBezTo>
                    <a:pt x="6949" y="1854"/>
                    <a:pt x="6947" y="1856"/>
                    <a:pt x="6960" y="1879"/>
                  </a:cubicBezTo>
                  <a:cubicBezTo>
                    <a:pt x="6962" y="1860"/>
                    <a:pt x="6963" y="1852"/>
                    <a:pt x="6958" y="1839"/>
                  </a:cubicBezTo>
                </a:path>
                <a:path w="7282" h="4686" extrusionOk="0">
                  <a:moveTo>
                    <a:pt x="6968" y="1721"/>
                  </a:moveTo>
                  <a:cubicBezTo>
                    <a:pt x="6995" y="1752"/>
                    <a:pt x="7009" y="1752"/>
                    <a:pt x="7050" y="1743"/>
                  </a:cubicBezTo>
                  <a:cubicBezTo>
                    <a:pt x="7088" y="1734"/>
                    <a:pt x="7122" y="1717"/>
                    <a:pt x="7156" y="1700"/>
                  </a:cubicBezTo>
                  <a:cubicBezTo>
                    <a:pt x="7172" y="1692"/>
                    <a:pt x="7213" y="1664"/>
                    <a:pt x="7233" y="1672"/>
                  </a:cubicBezTo>
                  <a:cubicBezTo>
                    <a:pt x="7251" y="1679"/>
                    <a:pt x="7262" y="1695"/>
                    <a:pt x="7281" y="1702"/>
                  </a:cubicBezTo>
                  <a:cubicBezTo>
                    <a:pt x="7254" y="1729"/>
                    <a:pt x="7225" y="1753"/>
                    <a:pt x="7195" y="1778"/>
                  </a:cubicBezTo>
                  <a:cubicBezTo>
                    <a:pt x="7164" y="1804"/>
                    <a:pt x="7134" y="1831"/>
                    <a:pt x="7103" y="1856"/>
                  </a:cubicBezTo>
                  <a:cubicBezTo>
                    <a:pt x="7087" y="1869"/>
                    <a:pt x="7081" y="1873"/>
                    <a:pt x="7071" y="1883"/>
                  </a:cubicBezTo>
                  <a:cubicBezTo>
                    <a:pt x="7098" y="1896"/>
                    <a:pt x="7125" y="1901"/>
                    <a:pt x="7153" y="1911"/>
                  </a:cubicBezTo>
                  <a:cubicBezTo>
                    <a:pt x="7184" y="1922"/>
                    <a:pt x="7212" y="1937"/>
                    <a:pt x="7205" y="1976"/>
                  </a:cubicBezTo>
                  <a:cubicBezTo>
                    <a:pt x="7198" y="2012"/>
                    <a:pt x="7167" y="2033"/>
                    <a:pt x="7138" y="2051"/>
                  </a:cubicBezTo>
                  <a:cubicBezTo>
                    <a:pt x="7111" y="2068"/>
                    <a:pt x="7085" y="2086"/>
                    <a:pt x="7063" y="2110"/>
                  </a:cubicBezTo>
                  <a:cubicBezTo>
                    <a:pt x="7044" y="2131"/>
                    <a:pt x="7035" y="2152"/>
                    <a:pt x="7030" y="2179"/>
                  </a:cubicBezTo>
                  <a:cubicBezTo>
                    <a:pt x="7000" y="2168"/>
                    <a:pt x="6984" y="2165"/>
                    <a:pt x="6953" y="2177"/>
                  </a:cubicBezTo>
                  <a:cubicBezTo>
                    <a:pt x="6948" y="2179"/>
                    <a:pt x="6943" y="2182"/>
                    <a:pt x="6938" y="2184"/>
                  </a:cubicBezTo>
                  <a:cubicBezTo>
                    <a:pt x="6927" y="2114"/>
                    <a:pt x="6932" y="2042"/>
                    <a:pt x="6922" y="1972"/>
                  </a:cubicBezTo>
                </a:path>
                <a:path w="7282" h="4686" extrusionOk="0">
                  <a:moveTo>
                    <a:pt x="5522" y="1569"/>
                  </a:moveTo>
                  <a:cubicBezTo>
                    <a:pt x="5529" y="1525"/>
                    <a:pt x="5541" y="1492"/>
                    <a:pt x="5564" y="1454"/>
                  </a:cubicBezTo>
                  <a:cubicBezTo>
                    <a:pt x="5569" y="1488"/>
                    <a:pt x="5568" y="1524"/>
                    <a:pt x="5567" y="1559"/>
                  </a:cubicBezTo>
                  <a:cubicBezTo>
                    <a:pt x="5566" y="1621"/>
                    <a:pt x="5565" y="1683"/>
                    <a:pt x="5567" y="1745"/>
                  </a:cubicBezTo>
                  <a:cubicBezTo>
                    <a:pt x="5569" y="1827"/>
                    <a:pt x="5571" y="1910"/>
                    <a:pt x="5572" y="1992"/>
                  </a:cubicBezTo>
                  <a:cubicBezTo>
                    <a:pt x="5573" y="2049"/>
                    <a:pt x="5573" y="2105"/>
                    <a:pt x="5574" y="2162"/>
                  </a:cubicBezTo>
                  <a:cubicBezTo>
                    <a:pt x="5575" y="2219"/>
                    <a:pt x="5591" y="2183"/>
                    <a:pt x="5594" y="2149"/>
                  </a:cubicBezTo>
                  <a:cubicBezTo>
                    <a:pt x="5593" y="2140"/>
                    <a:pt x="5593" y="2131"/>
                    <a:pt x="5592" y="2122"/>
                  </a:cubicBezTo>
                </a:path>
                <a:path w="7282" h="4686" extrusionOk="0">
                  <a:moveTo>
                    <a:pt x="5584" y="1781"/>
                  </a:moveTo>
                  <a:cubicBezTo>
                    <a:pt x="5581" y="1807"/>
                    <a:pt x="5578" y="1803"/>
                    <a:pt x="5607" y="1803"/>
                  </a:cubicBezTo>
                  <a:cubicBezTo>
                    <a:pt x="5579" y="1815"/>
                    <a:pt x="5562" y="1812"/>
                    <a:pt x="5532" y="1813"/>
                  </a:cubicBezTo>
                  <a:cubicBezTo>
                    <a:pt x="5488" y="1815"/>
                    <a:pt x="5444" y="1814"/>
                    <a:pt x="5400" y="1820"/>
                  </a:cubicBezTo>
                  <a:cubicBezTo>
                    <a:pt x="5370" y="1824"/>
                    <a:pt x="5334" y="1827"/>
                    <a:pt x="5305" y="1836"/>
                  </a:cubicBezTo>
                  <a:cubicBezTo>
                    <a:pt x="5298" y="1839"/>
                    <a:pt x="5291" y="1841"/>
                    <a:pt x="5284" y="1844"/>
                  </a:cubicBezTo>
                  <a:cubicBezTo>
                    <a:pt x="5309" y="1866"/>
                    <a:pt x="5335" y="1882"/>
                    <a:pt x="5362" y="1901"/>
                  </a:cubicBezTo>
                  <a:cubicBezTo>
                    <a:pt x="5387" y="1919"/>
                    <a:pt x="5412" y="1941"/>
                    <a:pt x="5435" y="1962"/>
                  </a:cubicBezTo>
                  <a:cubicBezTo>
                    <a:pt x="5458" y="1984"/>
                    <a:pt x="5482" y="2004"/>
                    <a:pt x="5504" y="2027"/>
                  </a:cubicBezTo>
                  <a:cubicBezTo>
                    <a:pt x="5473" y="2035"/>
                    <a:pt x="5443" y="2044"/>
                    <a:pt x="5412" y="2047"/>
                  </a:cubicBezTo>
                  <a:cubicBezTo>
                    <a:pt x="5355" y="2053"/>
                    <a:pt x="5270" y="2043"/>
                    <a:pt x="5224" y="2085"/>
                  </a:cubicBezTo>
                  <a:cubicBezTo>
                    <a:pt x="5209" y="2105"/>
                    <a:pt x="5204" y="2109"/>
                    <a:pt x="5200" y="2125"/>
                  </a:cubicBezTo>
                  <a:cubicBezTo>
                    <a:pt x="5222" y="2150"/>
                    <a:pt x="5239" y="2160"/>
                    <a:pt x="5270" y="2172"/>
                  </a:cubicBezTo>
                  <a:cubicBezTo>
                    <a:pt x="5321" y="2192"/>
                    <a:pt x="5370" y="2216"/>
                    <a:pt x="5422" y="2232"/>
                  </a:cubicBezTo>
                  <a:cubicBezTo>
                    <a:pt x="5444" y="2239"/>
                    <a:pt x="5465" y="2242"/>
                    <a:pt x="5487" y="2237"/>
                  </a:cubicBezTo>
                  <a:cubicBezTo>
                    <a:pt x="5523" y="2229"/>
                    <a:pt x="5536" y="2223"/>
                    <a:pt x="5567" y="2242"/>
                  </a:cubicBezTo>
                  <a:cubicBezTo>
                    <a:pt x="5588" y="2255"/>
                    <a:pt x="5605" y="2267"/>
                    <a:pt x="5627" y="2278"/>
                  </a:cubicBezTo>
                </a:path>
                <a:path w="7282" h="4686" extrusionOk="0">
                  <a:moveTo>
                    <a:pt x="3699" y="1349"/>
                  </a:moveTo>
                  <a:cubicBezTo>
                    <a:pt x="3666" y="1314"/>
                    <a:pt x="3658" y="1342"/>
                    <a:pt x="3638" y="1376"/>
                  </a:cubicBezTo>
                  <a:cubicBezTo>
                    <a:pt x="3612" y="1421"/>
                    <a:pt x="3604" y="1467"/>
                    <a:pt x="3603" y="1519"/>
                  </a:cubicBezTo>
                  <a:cubicBezTo>
                    <a:pt x="3601" y="1583"/>
                    <a:pt x="3615" y="1645"/>
                    <a:pt x="3653" y="1697"/>
                  </a:cubicBezTo>
                  <a:cubicBezTo>
                    <a:pt x="3690" y="1748"/>
                    <a:pt x="3749" y="1770"/>
                    <a:pt x="3811" y="1761"/>
                  </a:cubicBezTo>
                  <a:cubicBezTo>
                    <a:pt x="3882" y="1751"/>
                    <a:pt x="3939" y="1697"/>
                    <a:pt x="3981" y="1643"/>
                  </a:cubicBezTo>
                  <a:cubicBezTo>
                    <a:pt x="4020" y="1593"/>
                    <a:pt x="4052" y="1526"/>
                    <a:pt x="4041" y="1461"/>
                  </a:cubicBezTo>
                  <a:cubicBezTo>
                    <a:pt x="4030" y="1394"/>
                    <a:pt x="3972" y="1362"/>
                    <a:pt x="3913" y="1344"/>
                  </a:cubicBezTo>
                  <a:cubicBezTo>
                    <a:pt x="3853" y="1325"/>
                    <a:pt x="3771" y="1318"/>
                    <a:pt x="3709" y="1334"/>
                  </a:cubicBezTo>
                  <a:cubicBezTo>
                    <a:pt x="3649" y="1349"/>
                    <a:pt x="3726" y="1374"/>
                    <a:pt x="3734" y="1377"/>
                  </a:cubicBezTo>
                </a:path>
                <a:path w="7282" h="4686" extrusionOk="0">
                  <a:moveTo>
                    <a:pt x="3967" y="1810"/>
                  </a:moveTo>
                  <a:cubicBezTo>
                    <a:pt x="3951" y="1849"/>
                    <a:pt x="3947" y="1871"/>
                    <a:pt x="3962" y="1911"/>
                  </a:cubicBezTo>
                  <a:cubicBezTo>
                    <a:pt x="3972" y="1939"/>
                    <a:pt x="3988" y="1964"/>
                    <a:pt x="4016" y="1976"/>
                  </a:cubicBezTo>
                  <a:cubicBezTo>
                    <a:pt x="4044" y="1988"/>
                    <a:pt x="4074" y="1976"/>
                    <a:pt x="4097" y="1959"/>
                  </a:cubicBezTo>
                  <a:cubicBezTo>
                    <a:pt x="4131" y="1933"/>
                    <a:pt x="4147" y="1904"/>
                    <a:pt x="4116" y="1869"/>
                  </a:cubicBezTo>
                  <a:cubicBezTo>
                    <a:pt x="4099" y="1850"/>
                    <a:pt x="4066" y="1830"/>
                    <a:pt x="4044" y="1818"/>
                  </a:cubicBezTo>
                  <a:cubicBezTo>
                    <a:pt x="4018" y="1804"/>
                    <a:pt x="4002" y="1798"/>
                    <a:pt x="3974" y="1800"/>
                  </a:cubicBezTo>
                </a:path>
                <a:path w="7282" h="4686" extrusionOk="0">
                  <a:moveTo>
                    <a:pt x="3674" y="1956"/>
                  </a:moveTo>
                  <a:cubicBezTo>
                    <a:pt x="3642" y="1987"/>
                    <a:pt x="3624" y="2003"/>
                    <a:pt x="3633" y="2051"/>
                  </a:cubicBezTo>
                  <a:cubicBezTo>
                    <a:pt x="3638" y="2076"/>
                    <a:pt x="3653" y="2103"/>
                    <a:pt x="3676" y="2115"/>
                  </a:cubicBezTo>
                  <a:cubicBezTo>
                    <a:pt x="3712" y="2134"/>
                    <a:pt x="3751" y="2114"/>
                    <a:pt x="3783" y="2095"/>
                  </a:cubicBezTo>
                  <a:cubicBezTo>
                    <a:pt x="3828" y="2068"/>
                    <a:pt x="3890" y="2021"/>
                    <a:pt x="3903" y="1966"/>
                  </a:cubicBezTo>
                  <a:cubicBezTo>
                    <a:pt x="3913" y="1924"/>
                    <a:pt x="3885" y="1894"/>
                    <a:pt x="3849" y="1879"/>
                  </a:cubicBezTo>
                  <a:cubicBezTo>
                    <a:pt x="3805" y="1861"/>
                    <a:pt x="3735" y="1854"/>
                    <a:pt x="3689" y="1869"/>
                  </a:cubicBezTo>
                  <a:cubicBezTo>
                    <a:pt x="3600" y="1898"/>
                    <a:pt x="3739" y="1888"/>
                    <a:pt x="3749" y="1886"/>
                  </a:cubicBezTo>
                </a:path>
                <a:path w="7282" h="4686" extrusionOk="0">
                  <a:moveTo>
                    <a:pt x="4955" y="2910"/>
                  </a:moveTo>
                  <a:cubicBezTo>
                    <a:pt x="4984" y="2903"/>
                    <a:pt x="4979" y="2908"/>
                    <a:pt x="5009" y="2910"/>
                  </a:cubicBezTo>
                  <a:cubicBezTo>
                    <a:pt x="5051" y="2914"/>
                    <a:pt x="5092" y="2924"/>
                    <a:pt x="5134" y="2928"/>
                  </a:cubicBezTo>
                  <a:cubicBezTo>
                    <a:pt x="5184" y="2933"/>
                    <a:pt x="5232" y="2938"/>
                    <a:pt x="5282" y="2938"/>
                  </a:cubicBezTo>
                  <a:cubicBezTo>
                    <a:pt x="5317" y="2938"/>
                    <a:pt x="5350" y="2936"/>
                    <a:pt x="5384" y="2931"/>
                  </a:cubicBezTo>
                  <a:cubicBezTo>
                    <a:pt x="5399" y="2930"/>
                    <a:pt x="5405" y="2930"/>
                    <a:pt x="5414" y="2925"/>
                  </a:cubicBezTo>
                  <a:cubicBezTo>
                    <a:pt x="5392" y="2896"/>
                    <a:pt x="5382" y="2891"/>
                    <a:pt x="5374" y="2853"/>
                  </a:cubicBezTo>
                  <a:cubicBezTo>
                    <a:pt x="5357" y="2773"/>
                    <a:pt x="5363" y="2685"/>
                    <a:pt x="5367" y="2604"/>
                  </a:cubicBezTo>
                  <a:cubicBezTo>
                    <a:pt x="5367" y="2586"/>
                    <a:pt x="5367" y="2581"/>
                    <a:pt x="5369" y="2569"/>
                  </a:cubicBezTo>
                  <a:cubicBezTo>
                    <a:pt x="5383" y="2600"/>
                    <a:pt x="5396" y="2627"/>
                    <a:pt x="5415" y="2656"/>
                  </a:cubicBezTo>
                  <a:cubicBezTo>
                    <a:pt x="5458" y="2722"/>
                    <a:pt x="5508" y="2783"/>
                    <a:pt x="5549" y="2850"/>
                  </a:cubicBezTo>
                  <a:cubicBezTo>
                    <a:pt x="5574" y="2891"/>
                    <a:pt x="5593" y="2934"/>
                    <a:pt x="5615" y="2976"/>
                  </a:cubicBezTo>
                  <a:cubicBezTo>
                    <a:pt x="5631" y="3007"/>
                    <a:pt x="5651" y="3044"/>
                    <a:pt x="5679" y="3066"/>
                  </a:cubicBezTo>
                  <a:cubicBezTo>
                    <a:pt x="5705" y="3086"/>
                    <a:pt x="5731" y="3101"/>
                    <a:pt x="5764" y="3104"/>
                  </a:cubicBezTo>
                  <a:cubicBezTo>
                    <a:pt x="5810" y="3108"/>
                    <a:pt x="5805" y="3083"/>
                    <a:pt x="5822" y="3064"/>
                  </a:cubicBezTo>
                  <a:cubicBezTo>
                    <a:pt x="5773" y="3059"/>
                    <a:pt x="5752" y="3060"/>
                    <a:pt x="5704" y="3086"/>
                  </a:cubicBezTo>
                  <a:cubicBezTo>
                    <a:pt x="5592" y="3145"/>
                    <a:pt x="5500" y="3234"/>
                    <a:pt x="5404" y="3315"/>
                  </a:cubicBezTo>
                  <a:cubicBezTo>
                    <a:pt x="5385" y="3331"/>
                    <a:pt x="5340" y="3360"/>
                    <a:pt x="5340" y="3388"/>
                  </a:cubicBezTo>
                  <a:cubicBezTo>
                    <a:pt x="5337" y="3405"/>
                    <a:pt x="5336" y="3411"/>
                    <a:pt x="5352" y="3413"/>
                  </a:cubicBezTo>
                  <a:cubicBezTo>
                    <a:pt x="5363" y="3385"/>
                    <a:pt x="5382" y="3356"/>
                    <a:pt x="5389" y="3327"/>
                  </a:cubicBezTo>
                  <a:cubicBezTo>
                    <a:pt x="5395" y="3305"/>
                    <a:pt x="5402" y="3270"/>
                    <a:pt x="5400" y="3247"/>
                  </a:cubicBezTo>
                  <a:cubicBezTo>
                    <a:pt x="5396" y="3202"/>
                    <a:pt x="5395" y="3218"/>
                    <a:pt x="5415" y="3182"/>
                  </a:cubicBezTo>
                  <a:cubicBezTo>
                    <a:pt x="5391" y="3182"/>
                    <a:pt x="5363" y="3180"/>
                    <a:pt x="5337" y="3182"/>
                  </a:cubicBezTo>
                  <a:cubicBezTo>
                    <a:pt x="5300" y="3184"/>
                    <a:pt x="5274" y="3195"/>
                    <a:pt x="5240" y="3209"/>
                  </a:cubicBezTo>
                  <a:cubicBezTo>
                    <a:pt x="5210" y="3222"/>
                    <a:pt x="5185" y="3242"/>
                    <a:pt x="5157" y="3256"/>
                  </a:cubicBezTo>
                  <a:cubicBezTo>
                    <a:pt x="5150" y="3259"/>
                    <a:pt x="5142" y="3261"/>
                    <a:pt x="5135" y="3264"/>
                  </a:cubicBezTo>
                  <a:cubicBezTo>
                    <a:pt x="5153" y="3249"/>
                    <a:pt x="5164" y="3234"/>
                    <a:pt x="5199" y="3221"/>
                  </a:cubicBezTo>
                </a:path>
                <a:path w="7282" h="4686" extrusionOk="0">
                  <a:moveTo>
                    <a:pt x="1502" y="3448"/>
                  </a:moveTo>
                  <a:cubicBezTo>
                    <a:pt x="1536" y="3442"/>
                    <a:pt x="1510" y="3427"/>
                    <a:pt x="1573" y="3465"/>
                  </a:cubicBezTo>
                  <a:cubicBezTo>
                    <a:pt x="1725" y="3555"/>
                    <a:pt x="1868" y="3669"/>
                    <a:pt x="1983" y="3804"/>
                  </a:cubicBezTo>
                  <a:cubicBezTo>
                    <a:pt x="2049" y="3881"/>
                    <a:pt x="2094" y="3972"/>
                    <a:pt x="2116" y="4070"/>
                  </a:cubicBezTo>
                  <a:cubicBezTo>
                    <a:pt x="2134" y="4148"/>
                    <a:pt x="2125" y="4217"/>
                    <a:pt x="2116" y="4294"/>
                  </a:cubicBezTo>
                  <a:cubicBezTo>
                    <a:pt x="2105" y="4384"/>
                    <a:pt x="2088" y="4330"/>
                    <a:pt x="2080" y="4276"/>
                  </a:cubicBezTo>
                </a:path>
                <a:path w="7282" h="4686" extrusionOk="0">
                  <a:moveTo>
                    <a:pt x="1966" y="3212"/>
                  </a:moveTo>
                  <a:cubicBezTo>
                    <a:pt x="1955" y="3196"/>
                    <a:pt x="1951" y="3190"/>
                    <a:pt x="1936" y="3189"/>
                  </a:cubicBezTo>
                  <a:cubicBezTo>
                    <a:pt x="1964" y="3213"/>
                    <a:pt x="1973" y="3215"/>
                    <a:pt x="2006" y="3232"/>
                  </a:cubicBezTo>
                  <a:cubicBezTo>
                    <a:pt x="2113" y="3288"/>
                    <a:pt x="2208" y="3366"/>
                    <a:pt x="2300" y="3445"/>
                  </a:cubicBezTo>
                  <a:cubicBezTo>
                    <a:pt x="2387" y="3520"/>
                    <a:pt x="2478" y="3610"/>
                    <a:pt x="2531" y="3713"/>
                  </a:cubicBezTo>
                  <a:cubicBezTo>
                    <a:pt x="2554" y="3757"/>
                    <a:pt x="2571" y="3820"/>
                    <a:pt x="2553" y="3869"/>
                  </a:cubicBezTo>
                  <a:cubicBezTo>
                    <a:pt x="2540" y="3904"/>
                    <a:pt x="2520" y="3897"/>
                    <a:pt x="2490" y="3897"/>
                  </a:cubicBezTo>
                </a:path>
                <a:path w="7282" h="4686" extrusionOk="0">
                  <a:moveTo>
                    <a:pt x="2160" y="2742"/>
                  </a:moveTo>
                  <a:cubicBezTo>
                    <a:pt x="2140" y="2736"/>
                    <a:pt x="2127" y="2735"/>
                    <a:pt x="2108" y="2732"/>
                  </a:cubicBezTo>
                  <a:cubicBezTo>
                    <a:pt x="2156" y="2746"/>
                    <a:pt x="2203" y="2761"/>
                    <a:pt x="2251" y="2774"/>
                  </a:cubicBezTo>
                  <a:cubicBezTo>
                    <a:pt x="2396" y="2814"/>
                    <a:pt x="2570" y="2849"/>
                    <a:pt x="2690" y="2945"/>
                  </a:cubicBezTo>
                  <a:cubicBezTo>
                    <a:pt x="2777" y="3015"/>
                    <a:pt x="2800" y="3113"/>
                    <a:pt x="2793" y="3221"/>
                  </a:cubicBezTo>
                  <a:cubicBezTo>
                    <a:pt x="2786" y="3329"/>
                    <a:pt x="2747" y="3429"/>
                    <a:pt x="2713" y="3530"/>
                  </a:cubicBezTo>
                </a:path>
                <a:path w="7282" h="4686" extrusionOk="0">
                  <a:moveTo>
                    <a:pt x="437" y="2024"/>
                  </a:moveTo>
                  <a:cubicBezTo>
                    <a:pt x="407" y="2021"/>
                    <a:pt x="397" y="1997"/>
                    <a:pt x="362" y="2036"/>
                  </a:cubicBezTo>
                  <a:cubicBezTo>
                    <a:pt x="322" y="2081"/>
                    <a:pt x="303" y="2150"/>
                    <a:pt x="294" y="2208"/>
                  </a:cubicBezTo>
                  <a:cubicBezTo>
                    <a:pt x="279" y="2305"/>
                    <a:pt x="283" y="2408"/>
                    <a:pt x="305" y="2504"/>
                  </a:cubicBezTo>
                  <a:cubicBezTo>
                    <a:pt x="329" y="2610"/>
                    <a:pt x="377" y="2718"/>
                    <a:pt x="450" y="2800"/>
                  </a:cubicBezTo>
                  <a:cubicBezTo>
                    <a:pt x="514" y="2872"/>
                    <a:pt x="595" y="2918"/>
                    <a:pt x="687" y="2941"/>
                  </a:cubicBezTo>
                  <a:cubicBezTo>
                    <a:pt x="746" y="2956"/>
                    <a:pt x="812" y="2960"/>
                    <a:pt x="872" y="2950"/>
                  </a:cubicBezTo>
                  <a:cubicBezTo>
                    <a:pt x="908" y="2944"/>
                    <a:pt x="929" y="2940"/>
                    <a:pt x="915" y="2898"/>
                  </a:cubicBezTo>
                  <a:cubicBezTo>
                    <a:pt x="906" y="2877"/>
                    <a:pt x="901" y="2868"/>
                    <a:pt x="892" y="2855"/>
                  </a:cubicBezTo>
                </a:path>
                <a:path w="7282" h="4686" extrusionOk="0">
                  <a:moveTo>
                    <a:pt x="509" y="1992"/>
                  </a:moveTo>
                  <a:cubicBezTo>
                    <a:pt x="478" y="2007"/>
                    <a:pt x="442" y="2018"/>
                    <a:pt x="415" y="2046"/>
                  </a:cubicBezTo>
                  <a:cubicBezTo>
                    <a:pt x="371" y="2091"/>
                    <a:pt x="326" y="2142"/>
                    <a:pt x="292" y="2197"/>
                  </a:cubicBezTo>
                  <a:cubicBezTo>
                    <a:pt x="240" y="2282"/>
                    <a:pt x="201" y="2374"/>
                    <a:pt x="179" y="2471"/>
                  </a:cubicBezTo>
                  <a:cubicBezTo>
                    <a:pt x="140" y="2646"/>
                    <a:pt x="142" y="2859"/>
                    <a:pt x="234" y="3018"/>
                  </a:cubicBezTo>
                  <a:cubicBezTo>
                    <a:pt x="296" y="3125"/>
                    <a:pt x="415" y="3188"/>
                    <a:pt x="537" y="3189"/>
                  </a:cubicBezTo>
                  <a:cubicBezTo>
                    <a:pt x="618" y="3189"/>
                    <a:pt x="696" y="3162"/>
                    <a:pt x="770" y="3131"/>
                  </a:cubicBezTo>
                  <a:cubicBezTo>
                    <a:pt x="804" y="3117"/>
                    <a:pt x="850" y="3072"/>
                    <a:pt x="880" y="3063"/>
                  </a:cubicBezTo>
                  <a:cubicBezTo>
                    <a:pt x="896" y="3063"/>
                    <a:pt x="902" y="3063"/>
                    <a:pt x="913" y="3066"/>
                  </a:cubicBezTo>
                </a:path>
                <a:path w="7282" h="4686" extrusionOk="0">
                  <a:moveTo>
                    <a:pt x="962" y="2916"/>
                  </a:moveTo>
                  <a:cubicBezTo>
                    <a:pt x="922" y="2933"/>
                    <a:pt x="890" y="2960"/>
                    <a:pt x="868" y="3000"/>
                  </a:cubicBezTo>
                  <a:cubicBezTo>
                    <a:pt x="841" y="3050"/>
                    <a:pt x="816" y="3114"/>
                    <a:pt x="822" y="3172"/>
                  </a:cubicBezTo>
                  <a:cubicBezTo>
                    <a:pt x="834" y="3280"/>
                    <a:pt x="933" y="3318"/>
                    <a:pt x="1025" y="3345"/>
                  </a:cubicBezTo>
                  <a:cubicBezTo>
                    <a:pt x="1137" y="3378"/>
                    <a:pt x="1256" y="3389"/>
                    <a:pt x="1372" y="3398"/>
                  </a:cubicBezTo>
                  <a:cubicBezTo>
                    <a:pt x="1473" y="3406"/>
                    <a:pt x="1581" y="3412"/>
                    <a:pt x="1678" y="3378"/>
                  </a:cubicBezTo>
                  <a:cubicBezTo>
                    <a:pt x="1781" y="3342"/>
                    <a:pt x="1838" y="3243"/>
                    <a:pt x="1860" y="3141"/>
                  </a:cubicBezTo>
                  <a:cubicBezTo>
                    <a:pt x="1873" y="3082"/>
                    <a:pt x="1871" y="3007"/>
                    <a:pt x="1837" y="2955"/>
                  </a:cubicBezTo>
                  <a:cubicBezTo>
                    <a:pt x="1816" y="2922"/>
                    <a:pt x="1806" y="2937"/>
                    <a:pt x="1780" y="2931"/>
                  </a:cubicBezTo>
                  <a:cubicBezTo>
                    <a:pt x="1798" y="2952"/>
                    <a:pt x="1815" y="2975"/>
                    <a:pt x="1837" y="2996"/>
                  </a:cubicBezTo>
                </a:path>
                <a:path w="7282" h="4686" extrusionOk="0">
                  <a:moveTo>
                    <a:pt x="990" y="2971"/>
                  </a:moveTo>
                  <a:cubicBezTo>
                    <a:pt x="970" y="2999"/>
                    <a:pt x="950" y="3024"/>
                    <a:pt x="942" y="3059"/>
                  </a:cubicBezTo>
                  <a:cubicBezTo>
                    <a:pt x="931" y="3109"/>
                    <a:pt x="924" y="3176"/>
                    <a:pt x="938" y="3226"/>
                  </a:cubicBezTo>
                  <a:cubicBezTo>
                    <a:pt x="959" y="3301"/>
                    <a:pt x="1018" y="3350"/>
                    <a:pt x="1090" y="3375"/>
                  </a:cubicBezTo>
                  <a:cubicBezTo>
                    <a:pt x="1198" y="3413"/>
                    <a:pt x="1325" y="3403"/>
                    <a:pt x="1435" y="3378"/>
                  </a:cubicBezTo>
                  <a:cubicBezTo>
                    <a:pt x="1558" y="3350"/>
                    <a:pt x="1674" y="3290"/>
                    <a:pt x="1773" y="3212"/>
                  </a:cubicBezTo>
                  <a:cubicBezTo>
                    <a:pt x="1839" y="3160"/>
                    <a:pt x="1898" y="3094"/>
                    <a:pt x="1905" y="3006"/>
                  </a:cubicBezTo>
                  <a:cubicBezTo>
                    <a:pt x="1909" y="2955"/>
                    <a:pt x="1881" y="2907"/>
                    <a:pt x="1845" y="2873"/>
                  </a:cubicBezTo>
                  <a:cubicBezTo>
                    <a:pt x="1837" y="2866"/>
                    <a:pt x="1750" y="2814"/>
                    <a:pt x="1810" y="2863"/>
                  </a:cubicBezTo>
                  <a:cubicBezTo>
                    <a:pt x="1817" y="2867"/>
                    <a:pt x="1823" y="2871"/>
                    <a:pt x="1830" y="2875"/>
                  </a:cubicBezTo>
                </a:path>
                <a:path w="7282" h="4686" extrusionOk="0">
                  <a:moveTo>
                    <a:pt x="2000" y="3049"/>
                  </a:moveTo>
                  <a:cubicBezTo>
                    <a:pt x="1989" y="3074"/>
                    <a:pt x="1959" y="3124"/>
                    <a:pt x="1998" y="3144"/>
                  </a:cubicBezTo>
                  <a:cubicBezTo>
                    <a:pt x="2045" y="3168"/>
                    <a:pt x="2133" y="3128"/>
                    <a:pt x="2173" y="3106"/>
                  </a:cubicBezTo>
                  <a:cubicBezTo>
                    <a:pt x="2249" y="3064"/>
                    <a:pt x="2323" y="3002"/>
                    <a:pt x="2373" y="2931"/>
                  </a:cubicBezTo>
                  <a:cubicBezTo>
                    <a:pt x="2403" y="2888"/>
                    <a:pt x="2436" y="2819"/>
                    <a:pt x="2395" y="2772"/>
                  </a:cubicBezTo>
                  <a:cubicBezTo>
                    <a:pt x="2353" y="2723"/>
                    <a:pt x="2261" y="2712"/>
                    <a:pt x="2203" y="2702"/>
                  </a:cubicBezTo>
                  <a:cubicBezTo>
                    <a:pt x="2143" y="2691"/>
                    <a:pt x="1977" y="2728"/>
                    <a:pt x="2020" y="2685"/>
                  </a:cubicBezTo>
                  <a:cubicBezTo>
                    <a:pt x="2038" y="2667"/>
                    <a:pt x="2109" y="2683"/>
                    <a:pt x="2131" y="2684"/>
                  </a:cubicBezTo>
                </a:path>
                <a:path w="7282" h="4686" extrusionOk="0">
                  <a:moveTo>
                    <a:pt x="1948" y="3182"/>
                  </a:moveTo>
                  <a:cubicBezTo>
                    <a:pt x="1975" y="3171"/>
                    <a:pt x="2002" y="3158"/>
                    <a:pt x="2030" y="3151"/>
                  </a:cubicBezTo>
                  <a:cubicBezTo>
                    <a:pt x="2074" y="3140"/>
                    <a:pt x="2119" y="3139"/>
                    <a:pt x="2163" y="3133"/>
                  </a:cubicBezTo>
                  <a:cubicBezTo>
                    <a:pt x="2221" y="3125"/>
                    <a:pt x="2252" y="3101"/>
                    <a:pt x="2295" y="3064"/>
                  </a:cubicBezTo>
                  <a:cubicBezTo>
                    <a:pt x="2331" y="3033"/>
                    <a:pt x="2357" y="2987"/>
                    <a:pt x="2351" y="2936"/>
                  </a:cubicBezTo>
                  <a:cubicBezTo>
                    <a:pt x="2344" y="2880"/>
                    <a:pt x="2288" y="2852"/>
                    <a:pt x="2241" y="2835"/>
                  </a:cubicBezTo>
                  <a:cubicBezTo>
                    <a:pt x="2181" y="2814"/>
                    <a:pt x="2119" y="2809"/>
                    <a:pt x="2056" y="2808"/>
                  </a:cubicBezTo>
                  <a:cubicBezTo>
                    <a:pt x="2009" y="2807"/>
                    <a:pt x="2021" y="2820"/>
                    <a:pt x="2046" y="2832"/>
                  </a:cubicBezTo>
                </a:path>
                <a:path w="7282" h="4686" extrusionOk="0">
                  <a:moveTo>
                    <a:pt x="1930" y="2685"/>
                  </a:moveTo>
                  <a:cubicBezTo>
                    <a:pt x="1980" y="2696"/>
                    <a:pt x="2015" y="2692"/>
                    <a:pt x="2066" y="2680"/>
                  </a:cubicBezTo>
                  <a:cubicBezTo>
                    <a:pt x="2145" y="2661"/>
                    <a:pt x="2220" y="2633"/>
                    <a:pt x="2283" y="2581"/>
                  </a:cubicBezTo>
                  <a:cubicBezTo>
                    <a:pt x="2360" y="2518"/>
                    <a:pt x="2432" y="2434"/>
                    <a:pt x="2476" y="2345"/>
                  </a:cubicBezTo>
                  <a:cubicBezTo>
                    <a:pt x="2522" y="2252"/>
                    <a:pt x="2551" y="2141"/>
                    <a:pt x="2553" y="2037"/>
                  </a:cubicBezTo>
                  <a:cubicBezTo>
                    <a:pt x="2555" y="1903"/>
                    <a:pt x="2509" y="1755"/>
                    <a:pt x="2410" y="1662"/>
                  </a:cubicBezTo>
                  <a:cubicBezTo>
                    <a:pt x="2355" y="1610"/>
                    <a:pt x="2290" y="1606"/>
                    <a:pt x="2225" y="1642"/>
                  </a:cubicBezTo>
                  <a:cubicBezTo>
                    <a:pt x="2194" y="1660"/>
                    <a:pt x="2147" y="1695"/>
                    <a:pt x="2145" y="1735"/>
                  </a:cubicBezTo>
                  <a:cubicBezTo>
                    <a:pt x="2151" y="1752"/>
                    <a:pt x="2154" y="1758"/>
                    <a:pt x="2160" y="1768"/>
                  </a:cubicBezTo>
                  <a:cubicBezTo>
                    <a:pt x="2200" y="1779"/>
                    <a:pt x="2233" y="1784"/>
                    <a:pt x="2275" y="1783"/>
                  </a:cubicBezTo>
                  <a:cubicBezTo>
                    <a:pt x="2349" y="1782"/>
                    <a:pt x="2438" y="1768"/>
                    <a:pt x="2508" y="1800"/>
                  </a:cubicBezTo>
                  <a:cubicBezTo>
                    <a:pt x="2575" y="1830"/>
                    <a:pt x="2571" y="1902"/>
                    <a:pt x="2558" y="1964"/>
                  </a:cubicBezTo>
                  <a:cubicBezTo>
                    <a:pt x="2532" y="2086"/>
                    <a:pt x="2467" y="2201"/>
                    <a:pt x="2410" y="2311"/>
                  </a:cubicBezTo>
                  <a:cubicBezTo>
                    <a:pt x="2350" y="2427"/>
                    <a:pt x="2287" y="2541"/>
                    <a:pt x="2216" y="2651"/>
                  </a:cubicBezTo>
                  <a:cubicBezTo>
                    <a:pt x="2192" y="2688"/>
                    <a:pt x="2151" y="2769"/>
                    <a:pt x="2098" y="2774"/>
                  </a:cubicBezTo>
                  <a:cubicBezTo>
                    <a:pt x="2066" y="2777"/>
                    <a:pt x="2030" y="2739"/>
                    <a:pt x="2016" y="2714"/>
                  </a:cubicBezTo>
                  <a:cubicBezTo>
                    <a:pt x="1998" y="2681"/>
                    <a:pt x="1992" y="2666"/>
                    <a:pt x="2005" y="2631"/>
                  </a:cubicBezTo>
                  <a:cubicBezTo>
                    <a:pt x="2020" y="2590"/>
                    <a:pt x="2096" y="2579"/>
                    <a:pt x="2128" y="2561"/>
                  </a:cubicBezTo>
                  <a:cubicBezTo>
                    <a:pt x="2184" y="2530"/>
                    <a:pt x="2246" y="2493"/>
                    <a:pt x="2293" y="2449"/>
                  </a:cubicBezTo>
                  <a:cubicBezTo>
                    <a:pt x="2303" y="2438"/>
                    <a:pt x="2313" y="2426"/>
                    <a:pt x="2323" y="2415"/>
                  </a:cubicBezTo>
                </a:path>
                <a:path w="7282" h="4686" extrusionOk="0">
                  <a:moveTo>
                    <a:pt x="1973" y="1343"/>
                  </a:moveTo>
                  <a:cubicBezTo>
                    <a:pt x="2014" y="1382"/>
                    <a:pt x="2059" y="1405"/>
                    <a:pt x="2106" y="1436"/>
                  </a:cubicBezTo>
                  <a:cubicBezTo>
                    <a:pt x="2169" y="1478"/>
                    <a:pt x="2234" y="1525"/>
                    <a:pt x="2273" y="1592"/>
                  </a:cubicBezTo>
                  <a:cubicBezTo>
                    <a:pt x="2311" y="1657"/>
                    <a:pt x="2295" y="1725"/>
                    <a:pt x="2255" y="1785"/>
                  </a:cubicBezTo>
                  <a:cubicBezTo>
                    <a:pt x="2211" y="1851"/>
                    <a:pt x="2151" y="1902"/>
                    <a:pt x="2078" y="1933"/>
                  </a:cubicBezTo>
                  <a:cubicBezTo>
                    <a:pt x="2030" y="1948"/>
                    <a:pt x="2018" y="1952"/>
                    <a:pt x="1986" y="1956"/>
                  </a:cubicBezTo>
                </a:path>
                <a:path w="7282" h="4686" extrusionOk="0">
                  <a:moveTo>
                    <a:pt x="532" y="1909"/>
                  </a:moveTo>
                  <a:cubicBezTo>
                    <a:pt x="501" y="1909"/>
                    <a:pt x="481" y="1901"/>
                    <a:pt x="449" y="1921"/>
                  </a:cubicBezTo>
                  <a:cubicBezTo>
                    <a:pt x="406" y="1948"/>
                    <a:pt x="371" y="2024"/>
                    <a:pt x="354" y="2069"/>
                  </a:cubicBezTo>
                  <a:cubicBezTo>
                    <a:pt x="273" y="2279"/>
                    <a:pt x="250" y="2542"/>
                    <a:pt x="290" y="2762"/>
                  </a:cubicBezTo>
                  <a:cubicBezTo>
                    <a:pt x="310" y="2873"/>
                    <a:pt x="354" y="2994"/>
                    <a:pt x="465" y="3043"/>
                  </a:cubicBezTo>
                  <a:cubicBezTo>
                    <a:pt x="618" y="3111"/>
                    <a:pt x="843" y="3031"/>
                    <a:pt x="967" y="2935"/>
                  </a:cubicBezTo>
                  <a:cubicBezTo>
                    <a:pt x="1007" y="2904"/>
                    <a:pt x="1050" y="2867"/>
                    <a:pt x="1065" y="2817"/>
                  </a:cubicBezTo>
                  <a:cubicBezTo>
                    <a:pt x="1067" y="2797"/>
                    <a:pt x="1068" y="2790"/>
                    <a:pt x="1065" y="2777"/>
                  </a:cubicBezTo>
                </a:path>
                <a:path w="7282" h="4686" extrusionOk="0">
                  <a:moveTo>
                    <a:pt x="12" y="30"/>
                  </a:moveTo>
                  <a:cubicBezTo>
                    <a:pt x="-8" y="-7"/>
                    <a:pt x="10" y="0"/>
                    <a:pt x="40" y="15"/>
                  </a:cubicBezTo>
                </a:path>
                <a:path w="7282" h="4686" extrusionOk="0">
                  <a:moveTo>
                    <a:pt x="119" y="517"/>
                  </a:moveTo>
                  <a:cubicBezTo>
                    <a:pt x="112" y="514"/>
                    <a:pt x="104" y="510"/>
                    <a:pt x="97" y="507"/>
                  </a:cubicBezTo>
                  <a:cubicBezTo>
                    <a:pt x="99" y="546"/>
                    <a:pt x="120" y="534"/>
                    <a:pt x="157" y="523"/>
                  </a:cubicBezTo>
                </a:path>
                <a:path w="7282" h="4686" extrusionOk="0">
                  <a:moveTo>
                    <a:pt x="1890" y="387"/>
                  </a:moveTo>
                  <a:cubicBezTo>
                    <a:pt x="1887" y="380"/>
                    <a:pt x="1883" y="374"/>
                    <a:pt x="1880" y="367"/>
                  </a:cubicBezTo>
                  <a:cubicBezTo>
                    <a:pt x="1913" y="355"/>
                    <a:pt x="1914" y="368"/>
                    <a:pt x="1926" y="400"/>
                  </a:cubicBezTo>
                </a:path>
                <a:path w="7282" h="4686" extrusionOk="0">
                  <a:moveTo>
                    <a:pt x="2210" y="440"/>
                  </a:moveTo>
                  <a:cubicBezTo>
                    <a:pt x="2237" y="455"/>
                    <a:pt x="2257" y="460"/>
                    <a:pt x="2286" y="462"/>
                  </a:cubicBezTo>
                  <a:cubicBezTo>
                    <a:pt x="2330" y="465"/>
                    <a:pt x="2374" y="459"/>
                    <a:pt x="2418" y="460"/>
                  </a:cubicBezTo>
                  <a:cubicBezTo>
                    <a:pt x="2485" y="461"/>
                    <a:pt x="2556" y="466"/>
                    <a:pt x="2616" y="498"/>
                  </a:cubicBezTo>
                  <a:cubicBezTo>
                    <a:pt x="2655" y="519"/>
                    <a:pt x="2692" y="552"/>
                    <a:pt x="2725" y="581"/>
                  </a:cubicBezTo>
                  <a:cubicBezTo>
                    <a:pt x="2742" y="597"/>
                    <a:pt x="2746" y="601"/>
                    <a:pt x="2758" y="610"/>
                  </a:cubicBezTo>
                </a:path>
                <a:path w="7282" h="4686" extrusionOk="0">
                  <a:moveTo>
                    <a:pt x="2091" y="857"/>
                  </a:moveTo>
                  <a:cubicBezTo>
                    <a:pt x="2073" y="856"/>
                    <a:pt x="2070" y="855"/>
                    <a:pt x="2095" y="851"/>
                  </a:cubicBezTo>
                </a:path>
                <a:path w="7282" h="4686" extrusionOk="0">
                  <a:moveTo>
                    <a:pt x="2163" y="806"/>
                  </a:moveTo>
                  <a:cubicBezTo>
                    <a:pt x="2192" y="793"/>
                    <a:pt x="2215" y="785"/>
                    <a:pt x="2246" y="787"/>
                  </a:cubicBezTo>
                  <a:cubicBezTo>
                    <a:pt x="2286" y="789"/>
                    <a:pt x="2326" y="789"/>
                    <a:pt x="2366" y="794"/>
                  </a:cubicBezTo>
                  <a:cubicBezTo>
                    <a:pt x="2417" y="800"/>
                    <a:pt x="2466" y="809"/>
                    <a:pt x="2516" y="821"/>
                  </a:cubicBezTo>
                  <a:cubicBezTo>
                    <a:pt x="2570" y="834"/>
                    <a:pt x="2625" y="846"/>
                    <a:pt x="2678" y="862"/>
                  </a:cubicBezTo>
                  <a:cubicBezTo>
                    <a:pt x="2714" y="873"/>
                    <a:pt x="2748" y="887"/>
                    <a:pt x="2780" y="905"/>
                  </a:cubicBezTo>
                  <a:cubicBezTo>
                    <a:pt x="2750" y="923"/>
                    <a:pt x="2750" y="921"/>
                    <a:pt x="2716" y="907"/>
                  </a:cubicBezTo>
                </a:path>
                <a:path w="7282" h="4686" extrusionOk="0">
                  <a:moveTo>
                    <a:pt x="1862" y="822"/>
                  </a:moveTo>
                  <a:cubicBezTo>
                    <a:pt x="1847" y="789"/>
                    <a:pt x="1854" y="786"/>
                    <a:pt x="1891" y="782"/>
                  </a:cubicBezTo>
                  <a:cubicBezTo>
                    <a:pt x="1922" y="779"/>
                    <a:pt x="1929" y="779"/>
                    <a:pt x="1948" y="776"/>
                  </a:cubicBezTo>
                </a:path>
                <a:path w="7282" h="4686" extrusionOk="0">
                  <a:moveTo>
                    <a:pt x="3719" y="997"/>
                  </a:moveTo>
                  <a:cubicBezTo>
                    <a:pt x="3669" y="955"/>
                    <a:pt x="3657" y="933"/>
                    <a:pt x="3588" y="939"/>
                  </a:cubicBezTo>
                  <a:cubicBezTo>
                    <a:pt x="3523" y="945"/>
                    <a:pt x="3470" y="1029"/>
                    <a:pt x="3443" y="1078"/>
                  </a:cubicBezTo>
                  <a:cubicBezTo>
                    <a:pt x="3383" y="1188"/>
                    <a:pt x="3359" y="1319"/>
                    <a:pt x="3343" y="1442"/>
                  </a:cubicBezTo>
                  <a:cubicBezTo>
                    <a:pt x="3318" y="1640"/>
                    <a:pt x="3306" y="1914"/>
                    <a:pt x="3458" y="2070"/>
                  </a:cubicBezTo>
                  <a:cubicBezTo>
                    <a:pt x="3590" y="2205"/>
                    <a:pt x="3819" y="2203"/>
                    <a:pt x="3989" y="2170"/>
                  </a:cubicBezTo>
                  <a:cubicBezTo>
                    <a:pt x="4140" y="2140"/>
                    <a:pt x="4294" y="2074"/>
                    <a:pt x="4406" y="1967"/>
                  </a:cubicBezTo>
                  <a:cubicBezTo>
                    <a:pt x="4492" y="1885"/>
                    <a:pt x="4548" y="1762"/>
                    <a:pt x="4534" y="1642"/>
                  </a:cubicBezTo>
                  <a:cubicBezTo>
                    <a:pt x="4518" y="1502"/>
                    <a:pt x="4414" y="1408"/>
                    <a:pt x="4299" y="1341"/>
                  </a:cubicBezTo>
                  <a:cubicBezTo>
                    <a:pt x="4174" y="1268"/>
                    <a:pt x="4029" y="1230"/>
                    <a:pt x="3886" y="1215"/>
                  </a:cubicBezTo>
                  <a:cubicBezTo>
                    <a:pt x="3846" y="1211"/>
                    <a:pt x="3723" y="1199"/>
                    <a:pt x="3789" y="1261"/>
                  </a:cubicBezTo>
                  <a:cubicBezTo>
                    <a:pt x="3805" y="1269"/>
                    <a:pt x="3822" y="1276"/>
                    <a:pt x="3838" y="1284"/>
                  </a:cubicBezTo>
                </a:path>
                <a:path w="7282" h="4686" extrusionOk="0">
                  <a:moveTo>
                    <a:pt x="3808" y="4299"/>
                  </a:moveTo>
                  <a:cubicBezTo>
                    <a:pt x="3834" y="4286"/>
                    <a:pt x="3835" y="4319"/>
                    <a:pt x="3839" y="4354"/>
                  </a:cubicBezTo>
                  <a:cubicBezTo>
                    <a:pt x="3844" y="4399"/>
                    <a:pt x="3842" y="4447"/>
                    <a:pt x="3849" y="4492"/>
                  </a:cubicBezTo>
                  <a:cubicBezTo>
                    <a:pt x="3855" y="4534"/>
                    <a:pt x="3864" y="4582"/>
                    <a:pt x="3879" y="4622"/>
                  </a:cubicBezTo>
                  <a:cubicBezTo>
                    <a:pt x="3889" y="4640"/>
                    <a:pt x="3893" y="4647"/>
                    <a:pt x="3903" y="4657"/>
                  </a:cubicBezTo>
                </a:path>
                <a:path w="7282" h="4686" extrusionOk="0">
                  <a:moveTo>
                    <a:pt x="3863" y="4211"/>
                  </a:moveTo>
                  <a:cubicBezTo>
                    <a:pt x="3864" y="4175"/>
                    <a:pt x="3858" y="4154"/>
                    <a:pt x="3898" y="4143"/>
                  </a:cubicBezTo>
                  <a:cubicBezTo>
                    <a:pt x="3933" y="4134"/>
                    <a:pt x="3975" y="4134"/>
                    <a:pt x="4011" y="4130"/>
                  </a:cubicBezTo>
                  <a:cubicBezTo>
                    <a:pt x="4083" y="4122"/>
                    <a:pt x="4154" y="4107"/>
                    <a:pt x="4226" y="4100"/>
                  </a:cubicBezTo>
                  <a:cubicBezTo>
                    <a:pt x="4263" y="4096"/>
                    <a:pt x="4297" y="4094"/>
                    <a:pt x="4302" y="4140"/>
                  </a:cubicBezTo>
                  <a:cubicBezTo>
                    <a:pt x="4308" y="4195"/>
                    <a:pt x="4283" y="4253"/>
                    <a:pt x="4269" y="4304"/>
                  </a:cubicBezTo>
                  <a:cubicBezTo>
                    <a:pt x="4253" y="4363"/>
                    <a:pt x="4230" y="4434"/>
                    <a:pt x="4244" y="4495"/>
                  </a:cubicBezTo>
                  <a:cubicBezTo>
                    <a:pt x="4247" y="4507"/>
                    <a:pt x="4299" y="4561"/>
                    <a:pt x="4306" y="4539"/>
                  </a:cubicBezTo>
                  <a:cubicBezTo>
                    <a:pt x="4304" y="4532"/>
                    <a:pt x="4301" y="4526"/>
                    <a:pt x="4299" y="4519"/>
                  </a:cubicBezTo>
                </a:path>
              </a:pathLst>
            </a:custGeom>
            <a:grpFill/>
            <a:ln w="19050" cap="rnd">
              <a:solidFill>
                <a:schemeClr val="tx1"/>
              </a:solidFill>
              <a:round/>
              <a:headEnd/>
              <a:tailEnd/>
            </a:ln>
          </p:spPr>
          <p:txBody>
            <a:bodyPr>
              <a:prstTxWarp prst="textNoShape">
                <a:avLst/>
              </a:prstTxWarp>
            </a:bodyPr>
            <a:lstStyle/>
            <a:p>
              <a:pPr>
                <a:defRPr/>
              </a:pPr>
              <a:endParaRPr lang="en-US">
                <a:latin typeface="Arial" charset="0"/>
                <a:ea typeface="ＭＳ Ｐゴシック" charset="-128"/>
                <a:cs typeface="ＭＳ Ｐゴシック" charset="-128"/>
              </a:endParaRPr>
            </a:p>
          </p:txBody>
        </p:sp>
        <p:sp>
          <p:nvSpPr>
            <p:cNvPr id="18" name="Freeform 35"/>
            <p:cNvSpPr>
              <a:spLocks noRot="1" noChangeAspect="1" noEditPoints="1" noChangeArrowheads="1" noChangeShapeType="1" noTextEdit="1"/>
            </p:cNvSpPr>
            <p:nvPr/>
          </p:nvSpPr>
          <p:spPr bwMode="auto">
            <a:xfrm>
              <a:off x="1280" y="1929"/>
              <a:ext cx="489" cy="408"/>
            </a:xfrm>
            <a:custGeom>
              <a:avLst/>
              <a:gdLst/>
              <a:ahLst/>
              <a:cxnLst>
                <a:cxn ang="0">
                  <a:pos x="836" y="506"/>
                </a:cxn>
                <a:cxn ang="0">
                  <a:pos x="1091" y="1169"/>
                </a:cxn>
                <a:cxn ang="0">
                  <a:pos x="1726" y="1116"/>
                </a:cxn>
                <a:cxn ang="0">
                  <a:pos x="1675" y="644"/>
                </a:cxn>
                <a:cxn ang="0">
                  <a:pos x="1053" y="260"/>
                </a:cxn>
                <a:cxn ang="0">
                  <a:pos x="1060" y="346"/>
                </a:cxn>
                <a:cxn ang="0">
                  <a:pos x="898" y="524"/>
                </a:cxn>
                <a:cxn ang="0">
                  <a:pos x="898" y="705"/>
                </a:cxn>
                <a:cxn ang="0">
                  <a:pos x="986" y="1601"/>
                </a:cxn>
                <a:cxn ang="0">
                  <a:pos x="1641" y="1171"/>
                </a:cxn>
                <a:cxn ang="0">
                  <a:pos x="1828" y="1016"/>
                </a:cxn>
                <a:cxn ang="0">
                  <a:pos x="1183" y="865"/>
                </a:cxn>
                <a:cxn ang="0">
                  <a:pos x="1266" y="793"/>
                </a:cxn>
                <a:cxn ang="0">
                  <a:pos x="1693" y="386"/>
                </a:cxn>
                <a:cxn ang="0">
                  <a:pos x="1978" y="115"/>
                </a:cxn>
                <a:cxn ang="0">
                  <a:pos x="1873" y="127"/>
                </a:cxn>
                <a:cxn ang="0">
                  <a:pos x="1983" y="175"/>
                </a:cxn>
                <a:cxn ang="0">
                  <a:pos x="2149" y="10"/>
                </a:cxn>
                <a:cxn ang="0">
                  <a:pos x="1913" y="62"/>
                </a:cxn>
                <a:cxn ang="0">
                  <a:pos x="1355" y="1192"/>
                </a:cxn>
                <a:cxn ang="0">
                  <a:pos x="1203" y="1772"/>
                </a:cxn>
                <a:cxn ang="0">
                  <a:pos x="1310" y="1746"/>
                </a:cxn>
                <a:cxn ang="0">
                  <a:pos x="1693" y="1551"/>
                </a:cxn>
                <a:cxn ang="0">
                  <a:pos x="1833" y="1510"/>
                </a:cxn>
                <a:cxn ang="0">
                  <a:pos x="1655" y="1338"/>
                </a:cxn>
                <a:cxn ang="0">
                  <a:pos x="1381" y="1225"/>
                </a:cxn>
                <a:cxn ang="0">
                  <a:pos x="1013" y="968"/>
                </a:cxn>
                <a:cxn ang="0">
                  <a:pos x="970" y="893"/>
                </a:cxn>
                <a:cxn ang="0">
                  <a:pos x="678" y="747"/>
                </a:cxn>
                <a:cxn ang="0">
                  <a:pos x="98" y="394"/>
                </a:cxn>
                <a:cxn ang="0">
                  <a:pos x="173" y="418"/>
                </a:cxn>
                <a:cxn ang="0">
                  <a:pos x="580" y="413"/>
                </a:cxn>
                <a:cxn ang="0">
                  <a:pos x="235" y="625"/>
                </a:cxn>
                <a:cxn ang="0">
                  <a:pos x="297" y="649"/>
                </a:cxn>
                <a:cxn ang="0">
                  <a:pos x="518" y="664"/>
                </a:cxn>
                <a:cxn ang="0">
                  <a:pos x="198" y="853"/>
                </a:cxn>
                <a:cxn ang="0">
                  <a:pos x="420" y="783"/>
                </a:cxn>
                <a:cxn ang="0">
                  <a:pos x="577" y="823"/>
                </a:cxn>
                <a:cxn ang="0">
                  <a:pos x="362" y="1003"/>
                </a:cxn>
                <a:cxn ang="0">
                  <a:pos x="580" y="1019"/>
                </a:cxn>
                <a:cxn ang="0">
                  <a:pos x="0" y="1315"/>
                </a:cxn>
                <a:cxn ang="0">
                  <a:pos x="275" y="1340"/>
                </a:cxn>
                <a:cxn ang="0">
                  <a:pos x="717" y="1407"/>
                </a:cxn>
              </a:cxnLst>
              <a:rect l="0" t="0" r="r" b="b"/>
              <a:pathLst>
                <a:path w="2155" h="1801" extrusionOk="0">
                  <a:moveTo>
                    <a:pt x="881" y="464"/>
                  </a:moveTo>
                  <a:cubicBezTo>
                    <a:pt x="855" y="469"/>
                    <a:pt x="843" y="447"/>
                    <a:pt x="836" y="506"/>
                  </a:cubicBezTo>
                  <a:cubicBezTo>
                    <a:pt x="825" y="594"/>
                    <a:pt x="855" y="708"/>
                    <a:pt x="876" y="792"/>
                  </a:cubicBezTo>
                  <a:cubicBezTo>
                    <a:pt x="911" y="933"/>
                    <a:pt x="972" y="1079"/>
                    <a:pt x="1091" y="1169"/>
                  </a:cubicBezTo>
                  <a:cubicBezTo>
                    <a:pt x="1167" y="1227"/>
                    <a:pt x="1271" y="1261"/>
                    <a:pt x="1366" y="1260"/>
                  </a:cubicBezTo>
                  <a:cubicBezTo>
                    <a:pt x="1500" y="1259"/>
                    <a:pt x="1627" y="1204"/>
                    <a:pt x="1726" y="1116"/>
                  </a:cubicBezTo>
                  <a:cubicBezTo>
                    <a:pt x="1802" y="1048"/>
                    <a:pt x="1870" y="942"/>
                    <a:pt x="1849" y="836"/>
                  </a:cubicBezTo>
                  <a:cubicBezTo>
                    <a:pt x="1832" y="749"/>
                    <a:pt x="1742" y="691"/>
                    <a:pt x="1675" y="644"/>
                  </a:cubicBezTo>
                  <a:cubicBezTo>
                    <a:pt x="1525" y="538"/>
                    <a:pt x="1364" y="447"/>
                    <a:pt x="1208" y="351"/>
                  </a:cubicBezTo>
                  <a:cubicBezTo>
                    <a:pt x="1156" y="319"/>
                    <a:pt x="1109" y="285"/>
                    <a:pt x="1053" y="260"/>
                  </a:cubicBezTo>
                  <a:cubicBezTo>
                    <a:pt x="1048" y="259"/>
                    <a:pt x="1043" y="257"/>
                    <a:pt x="1038" y="256"/>
                  </a:cubicBezTo>
                  <a:cubicBezTo>
                    <a:pt x="1039" y="289"/>
                    <a:pt x="1047" y="310"/>
                    <a:pt x="1060" y="346"/>
                  </a:cubicBezTo>
                  <a:cubicBezTo>
                    <a:pt x="1071" y="377"/>
                    <a:pt x="1074" y="387"/>
                    <a:pt x="1080" y="408"/>
                  </a:cubicBezTo>
                </a:path>
                <a:path w="2155" h="1801" extrusionOk="0">
                  <a:moveTo>
                    <a:pt x="898" y="524"/>
                  </a:moveTo>
                  <a:cubicBezTo>
                    <a:pt x="888" y="543"/>
                    <a:pt x="886" y="533"/>
                    <a:pt x="891" y="574"/>
                  </a:cubicBezTo>
                  <a:cubicBezTo>
                    <a:pt x="897" y="618"/>
                    <a:pt x="899" y="660"/>
                    <a:pt x="898" y="705"/>
                  </a:cubicBezTo>
                  <a:cubicBezTo>
                    <a:pt x="890" y="964"/>
                    <a:pt x="820" y="1266"/>
                    <a:pt x="915" y="1516"/>
                  </a:cubicBezTo>
                  <a:cubicBezTo>
                    <a:pt x="928" y="1550"/>
                    <a:pt x="948" y="1591"/>
                    <a:pt x="986" y="1601"/>
                  </a:cubicBezTo>
                  <a:cubicBezTo>
                    <a:pt x="1035" y="1614"/>
                    <a:pt x="1111" y="1541"/>
                    <a:pt x="1146" y="1518"/>
                  </a:cubicBezTo>
                  <a:cubicBezTo>
                    <a:pt x="1315" y="1408"/>
                    <a:pt x="1481" y="1293"/>
                    <a:pt x="1641" y="1171"/>
                  </a:cubicBezTo>
                  <a:cubicBezTo>
                    <a:pt x="1692" y="1132"/>
                    <a:pt x="1742" y="1093"/>
                    <a:pt x="1790" y="1051"/>
                  </a:cubicBezTo>
                  <a:cubicBezTo>
                    <a:pt x="1809" y="1035"/>
                    <a:pt x="1816" y="1029"/>
                    <a:pt x="1828" y="1016"/>
                  </a:cubicBezTo>
                  <a:cubicBezTo>
                    <a:pt x="1772" y="1016"/>
                    <a:pt x="1794" y="1036"/>
                    <a:pt x="1745" y="989"/>
                  </a:cubicBezTo>
                </a:path>
                <a:path w="2155" h="1801" extrusionOk="0">
                  <a:moveTo>
                    <a:pt x="1183" y="865"/>
                  </a:moveTo>
                  <a:cubicBezTo>
                    <a:pt x="1175" y="849"/>
                    <a:pt x="1174" y="842"/>
                    <a:pt x="1185" y="831"/>
                  </a:cubicBezTo>
                  <a:cubicBezTo>
                    <a:pt x="1221" y="823"/>
                    <a:pt x="1235" y="814"/>
                    <a:pt x="1266" y="793"/>
                  </a:cubicBezTo>
                  <a:cubicBezTo>
                    <a:pt x="1324" y="754"/>
                    <a:pt x="1368" y="703"/>
                    <a:pt x="1418" y="655"/>
                  </a:cubicBezTo>
                  <a:cubicBezTo>
                    <a:pt x="1510" y="566"/>
                    <a:pt x="1603" y="477"/>
                    <a:pt x="1693" y="386"/>
                  </a:cubicBezTo>
                  <a:cubicBezTo>
                    <a:pt x="1768" y="310"/>
                    <a:pt x="1841" y="231"/>
                    <a:pt x="1919" y="158"/>
                  </a:cubicBezTo>
                  <a:cubicBezTo>
                    <a:pt x="1946" y="132"/>
                    <a:pt x="1942" y="126"/>
                    <a:pt x="1978" y="115"/>
                  </a:cubicBezTo>
                </a:path>
                <a:path w="2155" h="1801" extrusionOk="0">
                  <a:moveTo>
                    <a:pt x="1924" y="24"/>
                  </a:moveTo>
                  <a:cubicBezTo>
                    <a:pt x="1908" y="57"/>
                    <a:pt x="1886" y="93"/>
                    <a:pt x="1873" y="127"/>
                  </a:cubicBezTo>
                  <a:cubicBezTo>
                    <a:pt x="1859" y="165"/>
                    <a:pt x="1848" y="187"/>
                    <a:pt x="1866" y="222"/>
                  </a:cubicBezTo>
                  <a:cubicBezTo>
                    <a:pt x="1908" y="212"/>
                    <a:pt x="1946" y="198"/>
                    <a:pt x="1983" y="175"/>
                  </a:cubicBezTo>
                  <a:cubicBezTo>
                    <a:pt x="2031" y="146"/>
                    <a:pt x="2091" y="111"/>
                    <a:pt x="2129" y="69"/>
                  </a:cubicBezTo>
                  <a:cubicBezTo>
                    <a:pt x="2149" y="47"/>
                    <a:pt x="2152" y="35"/>
                    <a:pt x="2149" y="10"/>
                  </a:cubicBezTo>
                  <a:cubicBezTo>
                    <a:pt x="2090" y="0"/>
                    <a:pt x="2043" y="7"/>
                    <a:pt x="1984" y="25"/>
                  </a:cubicBezTo>
                  <a:cubicBezTo>
                    <a:pt x="1955" y="34"/>
                    <a:pt x="1871" y="42"/>
                    <a:pt x="1913" y="62"/>
                  </a:cubicBezTo>
                </a:path>
                <a:path w="2155" h="1801" extrusionOk="0">
                  <a:moveTo>
                    <a:pt x="1341" y="1264"/>
                  </a:moveTo>
                  <a:cubicBezTo>
                    <a:pt x="1336" y="1231"/>
                    <a:pt x="1341" y="1222"/>
                    <a:pt x="1355" y="1192"/>
                  </a:cubicBezTo>
                  <a:cubicBezTo>
                    <a:pt x="1368" y="1228"/>
                    <a:pt x="1363" y="1255"/>
                    <a:pt x="1355" y="1294"/>
                  </a:cubicBezTo>
                  <a:cubicBezTo>
                    <a:pt x="1320" y="1454"/>
                    <a:pt x="1213" y="1608"/>
                    <a:pt x="1203" y="1772"/>
                  </a:cubicBezTo>
                  <a:cubicBezTo>
                    <a:pt x="1204" y="1779"/>
                    <a:pt x="1204" y="1787"/>
                    <a:pt x="1205" y="1794"/>
                  </a:cubicBezTo>
                  <a:cubicBezTo>
                    <a:pt x="1251" y="1798"/>
                    <a:pt x="1271" y="1774"/>
                    <a:pt x="1310" y="1746"/>
                  </a:cubicBezTo>
                  <a:cubicBezTo>
                    <a:pt x="1358" y="1711"/>
                    <a:pt x="1406" y="1676"/>
                    <a:pt x="1458" y="1646"/>
                  </a:cubicBezTo>
                  <a:cubicBezTo>
                    <a:pt x="1530" y="1604"/>
                    <a:pt x="1611" y="1568"/>
                    <a:pt x="1693" y="1551"/>
                  </a:cubicBezTo>
                  <a:cubicBezTo>
                    <a:pt x="1724" y="1545"/>
                    <a:pt x="1755" y="1542"/>
                    <a:pt x="1786" y="1538"/>
                  </a:cubicBezTo>
                  <a:cubicBezTo>
                    <a:pt x="1814" y="1534"/>
                    <a:pt x="1813" y="1526"/>
                    <a:pt x="1833" y="1510"/>
                  </a:cubicBezTo>
                  <a:cubicBezTo>
                    <a:pt x="1806" y="1483"/>
                    <a:pt x="1777" y="1464"/>
                    <a:pt x="1751" y="1433"/>
                  </a:cubicBezTo>
                  <a:cubicBezTo>
                    <a:pt x="1722" y="1398"/>
                    <a:pt x="1691" y="1366"/>
                    <a:pt x="1655" y="1338"/>
                  </a:cubicBezTo>
                  <a:cubicBezTo>
                    <a:pt x="1607" y="1301"/>
                    <a:pt x="1551" y="1269"/>
                    <a:pt x="1495" y="1247"/>
                  </a:cubicBezTo>
                  <a:cubicBezTo>
                    <a:pt x="1458" y="1233"/>
                    <a:pt x="1420" y="1227"/>
                    <a:pt x="1381" y="1225"/>
                  </a:cubicBezTo>
                  <a:cubicBezTo>
                    <a:pt x="1420" y="1232"/>
                    <a:pt x="1437" y="1230"/>
                    <a:pt x="1476" y="1224"/>
                  </a:cubicBezTo>
                </a:path>
                <a:path w="2155" h="1801" extrusionOk="0">
                  <a:moveTo>
                    <a:pt x="1013" y="968"/>
                  </a:moveTo>
                  <a:cubicBezTo>
                    <a:pt x="1033" y="955"/>
                    <a:pt x="1043" y="949"/>
                    <a:pt x="1055" y="930"/>
                  </a:cubicBezTo>
                  <a:cubicBezTo>
                    <a:pt x="1027" y="917"/>
                    <a:pt x="999" y="903"/>
                    <a:pt x="970" y="893"/>
                  </a:cubicBezTo>
                  <a:cubicBezTo>
                    <a:pt x="929" y="879"/>
                    <a:pt x="888" y="862"/>
                    <a:pt x="848" y="845"/>
                  </a:cubicBezTo>
                  <a:cubicBezTo>
                    <a:pt x="794" y="822"/>
                    <a:pt x="718" y="792"/>
                    <a:pt x="678" y="747"/>
                  </a:cubicBezTo>
                  <a:cubicBezTo>
                    <a:pt x="633" y="696"/>
                    <a:pt x="691" y="701"/>
                    <a:pt x="728" y="692"/>
                  </a:cubicBezTo>
                </a:path>
                <a:path w="2155" h="1801" extrusionOk="0">
                  <a:moveTo>
                    <a:pt x="98" y="394"/>
                  </a:moveTo>
                  <a:cubicBezTo>
                    <a:pt x="77" y="402"/>
                    <a:pt x="70" y="404"/>
                    <a:pt x="62" y="418"/>
                  </a:cubicBezTo>
                  <a:cubicBezTo>
                    <a:pt x="100" y="422"/>
                    <a:pt x="135" y="421"/>
                    <a:pt x="173" y="418"/>
                  </a:cubicBezTo>
                  <a:cubicBezTo>
                    <a:pt x="255" y="412"/>
                    <a:pt x="335" y="417"/>
                    <a:pt x="417" y="419"/>
                  </a:cubicBezTo>
                  <a:cubicBezTo>
                    <a:pt x="471" y="420"/>
                    <a:pt x="526" y="418"/>
                    <a:pt x="580" y="413"/>
                  </a:cubicBezTo>
                  <a:cubicBezTo>
                    <a:pt x="588" y="412"/>
                    <a:pt x="595" y="412"/>
                    <a:pt x="603" y="411"/>
                  </a:cubicBezTo>
                </a:path>
                <a:path w="2155" h="1801" extrusionOk="0">
                  <a:moveTo>
                    <a:pt x="235" y="625"/>
                  </a:moveTo>
                  <a:cubicBezTo>
                    <a:pt x="229" y="633"/>
                    <a:pt x="224" y="641"/>
                    <a:pt x="218" y="649"/>
                  </a:cubicBezTo>
                  <a:cubicBezTo>
                    <a:pt x="247" y="660"/>
                    <a:pt x="265" y="653"/>
                    <a:pt x="297" y="649"/>
                  </a:cubicBezTo>
                  <a:cubicBezTo>
                    <a:pt x="338" y="644"/>
                    <a:pt x="379" y="646"/>
                    <a:pt x="420" y="647"/>
                  </a:cubicBezTo>
                  <a:cubicBezTo>
                    <a:pt x="453" y="648"/>
                    <a:pt x="487" y="652"/>
                    <a:pt x="518" y="664"/>
                  </a:cubicBezTo>
                  <a:cubicBezTo>
                    <a:pt x="525" y="667"/>
                    <a:pt x="533" y="671"/>
                    <a:pt x="540" y="674"/>
                  </a:cubicBezTo>
                </a:path>
                <a:path w="2155" h="1801" extrusionOk="0">
                  <a:moveTo>
                    <a:pt x="198" y="853"/>
                  </a:moveTo>
                  <a:cubicBezTo>
                    <a:pt x="231" y="837"/>
                    <a:pt x="258" y="824"/>
                    <a:pt x="292" y="813"/>
                  </a:cubicBezTo>
                  <a:cubicBezTo>
                    <a:pt x="332" y="800"/>
                    <a:pt x="377" y="785"/>
                    <a:pt x="420" y="783"/>
                  </a:cubicBezTo>
                  <a:cubicBezTo>
                    <a:pt x="458" y="781"/>
                    <a:pt x="501" y="783"/>
                    <a:pt x="537" y="793"/>
                  </a:cubicBezTo>
                  <a:cubicBezTo>
                    <a:pt x="560" y="803"/>
                    <a:pt x="568" y="807"/>
                    <a:pt x="577" y="823"/>
                  </a:cubicBezTo>
                </a:path>
                <a:path w="2155" h="1801" extrusionOk="0">
                  <a:moveTo>
                    <a:pt x="230" y="1019"/>
                  </a:moveTo>
                  <a:cubicBezTo>
                    <a:pt x="275" y="1018"/>
                    <a:pt x="317" y="1011"/>
                    <a:pt x="362" y="1003"/>
                  </a:cubicBezTo>
                  <a:cubicBezTo>
                    <a:pt x="408" y="995"/>
                    <a:pt x="460" y="991"/>
                    <a:pt x="507" y="996"/>
                  </a:cubicBezTo>
                  <a:cubicBezTo>
                    <a:pt x="535" y="999"/>
                    <a:pt x="555" y="1008"/>
                    <a:pt x="580" y="1019"/>
                  </a:cubicBezTo>
                </a:path>
                <a:path w="2155" h="1801" extrusionOk="0">
                  <a:moveTo>
                    <a:pt x="58" y="1318"/>
                  </a:moveTo>
                  <a:cubicBezTo>
                    <a:pt x="36" y="1315"/>
                    <a:pt x="21" y="1313"/>
                    <a:pt x="0" y="1315"/>
                  </a:cubicBezTo>
                  <a:cubicBezTo>
                    <a:pt x="22" y="1343"/>
                    <a:pt x="49" y="1332"/>
                    <a:pt x="87" y="1333"/>
                  </a:cubicBezTo>
                  <a:cubicBezTo>
                    <a:pt x="150" y="1335"/>
                    <a:pt x="212" y="1337"/>
                    <a:pt x="275" y="1340"/>
                  </a:cubicBezTo>
                  <a:cubicBezTo>
                    <a:pt x="354" y="1344"/>
                    <a:pt x="431" y="1358"/>
                    <a:pt x="508" y="1372"/>
                  </a:cubicBezTo>
                  <a:cubicBezTo>
                    <a:pt x="577" y="1385"/>
                    <a:pt x="647" y="1401"/>
                    <a:pt x="717" y="1407"/>
                  </a:cubicBezTo>
                  <a:cubicBezTo>
                    <a:pt x="738" y="1408"/>
                    <a:pt x="745" y="1408"/>
                    <a:pt x="758" y="1412"/>
                  </a:cubicBezTo>
                </a:path>
              </a:pathLst>
            </a:custGeom>
            <a:grpFill/>
            <a:ln w="19050" cap="rnd">
              <a:solidFill>
                <a:schemeClr val="tx1"/>
              </a:solidFill>
              <a:round/>
              <a:headEnd/>
              <a:tailEnd/>
            </a:ln>
          </p:spPr>
          <p:txBody>
            <a:bodyPr>
              <a:prstTxWarp prst="textNoShape">
                <a:avLst/>
              </a:prstTxWarp>
            </a:bodyPr>
            <a:lstStyle/>
            <a:p>
              <a:pPr>
                <a:defRPr/>
              </a:pPr>
              <a:endParaRPr lang="en-US">
                <a:latin typeface="Arial" charset="0"/>
                <a:ea typeface="ＭＳ Ｐゴシック" charset="-128"/>
                <a:cs typeface="ＭＳ Ｐゴシック" charset="-128"/>
              </a:endParaRPr>
            </a:p>
          </p:txBody>
        </p:sp>
        <p:sp>
          <p:nvSpPr>
            <p:cNvPr id="19" name="Freeform 36"/>
            <p:cNvSpPr>
              <a:spLocks noRot="1" noChangeAspect="1" noEditPoints="1" noChangeArrowheads="1" noChangeShapeType="1" noTextEdit="1"/>
            </p:cNvSpPr>
            <p:nvPr/>
          </p:nvSpPr>
          <p:spPr bwMode="auto">
            <a:xfrm>
              <a:off x="2118" y="1733"/>
              <a:ext cx="244" cy="359"/>
            </a:xfrm>
            <a:custGeom>
              <a:avLst/>
              <a:gdLst/>
              <a:ahLst/>
              <a:cxnLst>
                <a:cxn ang="0">
                  <a:pos x="251" y="1050"/>
                </a:cxn>
                <a:cxn ang="0">
                  <a:pos x="0" y="553"/>
                </a:cxn>
                <a:cxn ang="0">
                  <a:pos x="201" y="119"/>
                </a:cxn>
                <a:cxn ang="0">
                  <a:pos x="668" y="18"/>
                </a:cxn>
                <a:cxn ang="0">
                  <a:pos x="943" y="325"/>
                </a:cxn>
                <a:cxn ang="0">
                  <a:pos x="1008" y="801"/>
                </a:cxn>
                <a:cxn ang="0">
                  <a:pos x="936" y="967"/>
                </a:cxn>
                <a:cxn ang="0">
                  <a:pos x="963" y="1108"/>
                </a:cxn>
                <a:cxn ang="0">
                  <a:pos x="1013" y="1431"/>
                </a:cxn>
                <a:cxn ang="0">
                  <a:pos x="796" y="1522"/>
                </a:cxn>
                <a:cxn ang="0">
                  <a:pos x="663" y="1575"/>
                </a:cxn>
                <a:cxn ang="0">
                  <a:pos x="605" y="1379"/>
                </a:cxn>
                <a:cxn ang="0">
                  <a:pos x="631" y="1251"/>
                </a:cxn>
                <a:cxn ang="0">
                  <a:pos x="726" y="1333"/>
                </a:cxn>
                <a:cxn ang="0">
                  <a:pos x="770" y="1459"/>
                </a:cxn>
                <a:cxn ang="0">
                  <a:pos x="981" y="1431"/>
                </a:cxn>
                <a:cxn ang="0">
                  <a:pos x="956" y="1309"/>
                </a:cxn>
                <a:cxn ang="0">
                  <a:pos x="1073" y="1394"/>
                </a:cxn>
                <a:cxn ang="0">
                  <a:pos x="1073" y="1394"/>
                </a:cxn>
                <a:cxn ang="0">
                  <a:pos x="873" y="1451"/>
                </a:cxn>
                <a:cxn ang="0">
                  <a:pos x="810" y="1404"/>
                </a:cxn>
                <a:cxn ang="0">
                  <a:pos x="815" y="1303"/>
                </a:cxn>
                <a:cxn ang="0">
                  <a:pos x="381" y="485"/>
                </a:cxn>
                <a:cxn ang="0">
                  <a:pos x="511" y="747"/>
                </a:cxn>
                <a:cxn ang="0">
                  <a:pos x="563" y="663"/>
                </a:cxn>
                <a:cxn ang="0">
                  <a:pos x="486" y="448"/>
                </a:cxn>
                <a:cxn ang="0">
                  <a:pos x="773" y="410"/>
                </a:cxn>
                <a:cxn ang="0">
                  <a:pos x="790" y="570"/>
                </a:cxn>
                <a:cxn ang="0">
                  <a:pos x="960" y="518"/>
                </a:cxn>
                <a:cxn ang="0">
                  <a:pos x="775" y="463"/>
                </a:cxn>
                <a:cxn ang="0">
                  <a:pos x="683" y="942"/>
                </a:cxn>
                <a:cxn ang="0">
                  <a:pos x="716" y="919"/>
                </a:cxn>
                <a:cxn ang="0">
                  <a:pos x="801" y="905"/>
                </a:cxn>
                <a:cxn ang="0">
                  <a:pos x="813" y="752"/>
                </a:cxn>
                <a:cxn ang="0">
                  <a:pos x="901" y="831"/>
                </a:cxn>
                <a:cxn ang="0">
                  <a:pos x="860" y="975"/>
                </a:cxn>
                <a:cxn ang="0">
                  <a:pos x="746" y="1062"/>
                </a:cxn>
                <a:cxn ang="0">
                  <a:pos x="706" y="964"/>
                </a:cxn>
              </a:cxnLst>
              <a:rect l="0" t="0" r="r" b="b"/>
              <a:pathLst>
                <a:path w="1074" h="1584" extrusionOk="0">
                  <a:moveTo>
                    <a:pt x="323" y="1116"/>
                  </a:moveTo>
                  <a:cubicBezTo>
                    <a:pt x="299" y="1092"/>
                    <a:pt x="276" y="1073"/>
                    <a:pt x="251" y="1050"/>
                  </a:cubicBezTo>
                  <a:cubicBezTo>
                    <a:pt x="185" y="990"/>
                    <a:pt x="135" y="919"/>
                    <a:pt x="88" y="844"/>
                  </a:cubicBezTo>
                  <a:cubicBezTo>
                    <a:pt x="33" y="756"/>
                    <a:pt x="9" y="656"/>
                    <a:pt x="0" y="553"/>
                  </a:cubicBezTo>
                  <a:cubicBezTo>
                    <a:pt x="-6" y="484"/>
                    <a:pt x="10" y="411"/>
                    <a:pt x="35" y="347"/>
                  </a:cubicBezTo>
                  <a:cubicBezTo>
                    <a:pt x="67" y="263"/>
                    <a:pt x="134" y="178"/>
                    <a:pt x="201" y="119"/>
                  </a:cubicBezTo>
                  <a:cubicBezTo>
                    <a:pt x="274" y="55"/>
                    <a:pt x="355" y="19"/>
                    <a:pt x="450" y="5"/>
                  </a:cubicBezTo>
                  <a:cubicBezTo>
                    <a:pt x="519" y="-5"/>
                    <a:pt x="601" y="-4"/>
                    <a:pt x="668" y="18"/>
                  </a:cubicBezTo>
                  <a:cubicBezTo>
                    <a:pt x="706" y="31"/>
                    <a:pt x="744" y="53"/>
                    <a:pt x="775" y="79"/>
                  </a:cubicBezTo>
                  <a:cubicBezTo>
                    <a:pt x="850" y="142"/>
                    <a:pt x="908" y="235"/>
                    <a:pt x="943" y="325"/>
                  </a:cubicBezTo>
                  <a:cubicBezTo>
                    <a:pt x="989" y="441"/>
                    <a:pt x="998" y="579"/>
                    <a:pt x="1006" y="703"/>
                  </a:cubicBezTo>
                  <a:cubicBezTo>
                    <a:pt x="1008" y="736"/>
                    <a:pt x="1009" y="768"/>
                    <a:pt x="1008" y="801"/>
                  </a:cubicBezTo>
                  <a:cubicBezTo>
                    <a:pt x="1008" y="820"/>
                    <a:pt x="1013" y="852"/>
                    <a:pt x="1008" y="869"/>
                  </a:cubicBezTo>
                  <a:cubicBezTo>
                    <a:pt x="996" y="912"/>
                    <a:pt x="957" y="929"/>
                    <a:pt x="936" y="967"/>
                  </a:cubicBezTo>
                  <a:cubicBezTo>
                    <a:pt x="919" y="998"/>
                    <a:pt x="921" y="1013"/>
                    <a:pt x="928" y="1040"/>
                  </a:cubicBezTo>
                  <a:cubicBezTo>
                    <a:pt x="934" y="1062"/>
                    <a:pt x="954" y="1087"/>
                    <a:pt x="963" y="1108"/>
                  </a:cubicBezTo>
                  <a:cubicBezTo>
                    <a:pt x="974" y="1134"/>
                    <a:pt x="985" y="1162"/>
                    <a:pt x="993" y="1190"/>
                  </a:cubicBezTo>
                  <a:cubicBezTo>
                    <a:pt x="1009" y="1247"/>
                    <a:pt x="1061" y="1390"/>
                    <a:pt x="1013" y="1431"/>
                  </a:cubicBezTo>
                  <a:cubicBezTo>
                    <a:pt x="984" y="1455"/>
                    <a:pt x="918" y="1462"/>
                    <a:pt x="883" y="1477"/>
                  </a:cubicBezTo>
                  <a:cubicBezTo>
                    <a:pt x="853" y="1490"/>
                    <a:pt x="825" y="1507"/>
                    <a:pt x="796" y="1522"/>
                  </a:cubicBezTo>
                  <a:cubicBezTo>
                    <a:pt x="763" y="1540"/>
                    <a:pt x="709" y="1577"/>
                    <a:pt x="678" y="1583"/>
                  </a:cubicBezTo>
                  <a:cubicBezTo>
                    <a:pt x="673" y="1580"/>
                    <a:pt x="668" y="1578"/>
                    <a:pt x="663" y="1575"/>
                  </a:cubicBezTo>
                  <a:cubicBezTo>
                    <a:pt x="646" y="1541"/>
                    <a:pt x="610" y="1496"/>
                    <a:pt x="601" y="1464"/>
                  </a:cubicBezTo>
                  <a:cubicBezTo>
                    <a:pt x="594" y="1437"/>
                    <a:pt x="601" y="1406"/>
                    <a:pt x="605" y="1379"/>
                  </a:cubicBezTo>
                  <a:cubicBezTo>
                    <a:pt x="609" y="1350"/>
                    <a:pt x="615" y="1322"/>
                    <a:pt x="621" y="1293"/>
                  </a:cubicBezTo>
                  <a:cubicBezTo>
                    <a:pt x="627" y="1270"/>
                    <a:pt x="628" y="1265"/>
                    <a:pt x="631" y="1251"/>
                  </a:cubicBezTo>
                  <a:cubicBezTo>
                    <a:pt x="655" y="1266"/>
                    <a:pt x="669" y="1269"/>
                    <a:pt x="690" y="1279"/>
                  </a:cubicBezTo>
                  <a:cubicBezTo>
                    <a:pt x="730" y="1297"/>
                    <a:pt x="717" y="1296"/>
                    <a:pt x="726" y="1333"/>
                  </a:cubicBezTo>
                  <a:cubicBezTo>
                    <a:pt x="732" y="1356"/>
                    <a:pt x="726" y="1383"/>
                    <a:pt x="733" y="1409"/>
                  </a:cubicBezTo>
                  <a:cubicBezTo>
                    <a:pt x="741" y="1438"/>
                    <a:pt x="751" y="1436"/>
                    <a:pt x="770" y="1459"/>
                  </a:cubicBezTo>
                </a:path>
                <a:path w="1074" h="1584" extrusionOk="0">
                  <a:moveTo>
                    <a:pt x="990" y="1510"/>
                  </a:moveTo>
                  <a:cubicBezTo>
                    <a:pt x="987" y="1484"/>
                    <a:pt x="983" y="1457"/>
                    <a:pt x="981" y="1431"/>
                  </a:cubicBezTo>
                  <a:cubicBezTo>
                    <a:pt x="978" y="1397"/>
                    <a:pt x="976" y="1358"/>
                    <a:pt x="965" y="1326"/>
                  </a:cubicBezTo>
                  <a:cubicBezTo>
                    <a:pt x="962" y="1320"/>
                    <a:pt x="959" y="1315"/>
                    <a:pt x="956" y="1309"/>
                  </a:cubicBezTo>
                </a:path>
                <a:path w="1074" h="1584" extrusionOk="0">
                  <a:moveTo>
                    <a:pt x="1073" y="1394"/>
                  </a:moveTo>
                  <a:lnTo>
                    <a:pt x="1073" y="1394"/>
                  </a:lnTo>
                </a:path>
                <a:path w="1074" h="1584" extrusionOk="0">
                  <a:moveTo>
                    <a:pt x="873" y="1451"/>
                  </a:moveTo>
                  <a:cubicBezTo>
                    <a:pt x="853" y="1461"/>
                    <a:pt x="838" y="1469"/>
                    <a:pt x="818" y="1477"/>
                  </a:cubicBezTo>
                  <a:cubicBezTo>
                    <a:pt x="812" y="1453"/>
                    <a:pt x="808" y="1429"/>
                    <a:pt x="810" y="1404"/>
                  </a:cubicBezTo>
                  <a:cubicBezTo>
                    <a:pt x="812" y="1382"/>
                    <a:pt x="815" y="1359"/>
                    <a:pt x="818" y="1337"/>
                  </a:cubicBezTo>
                  <a:cubicBezTo>
                    <a:pt x="821" y="1319"/>
                    <a:pt x="822" y="1314"/>
                    <a:pt x="815" y="1303"/>
                  </a:cubicBezTo>
                </a:path>
                <a:path w="1074" h="1584" extrusionOk="0">
                  <a:moveTo>
                    <a:pt x="376" y="390"/>
                  </a:moveTo>
                  <a:cubicBezTo>
                    <a:pt x="352" y="418"/>
                    <a:pt x="368" y="448"/>
                    <a:pt x="381" y="485"/>
                  </a:cubicBezTo>
                  <a:cubicBezTo>
                    <a:pt x="399" y="536"/>
                    <a:pt x="419" y="587"/>
                    <a:pt x="443" y="636"/>
                  </a:cubicBezTo>
                  <a:cubicBezTo>
                    <a:pt x="459" y="669"/>
                    <a:pt x="480" y="724"/>
                    <a:pt x="511" y="747"/>
                  </a:cubicBezTo>
                  <a:cubicBezTo>
                    <a:pt x="519" y="751"/>
                    <a:pt x="527" y="755"/>
                    <a:pt x="535" y="759"/>
                  </a:cubicBezTo>
                  <a:cubicBezTo>
                    <a:pt x="558" y="730"/>
                    <a:pt x="565" y="702"/>
                    <a:pt x="563" y="663"/>
                  </a:cubicBezTo>
                  <a:cubicBezTo>
                    <a:pt x="561" y="616"/>
                    <a:pt x="549" y="567"/>
                    <a:pt x="528" y="525"/>
                  </a:cubicBezTo>
                  <a:cubicBezTo>
                    <a:pt x="515" y="499"/>
                    <a:pt x="500" y="473"/>
                    <a:pt x="486" y="448"/>
                  </a:cubicBezTo>
                  <a:cubicBezTo>
                    <a:pt x="482" y="440"/>
                    <a:pt x="477" y="433"/>
                    <a:pt x="473" y="425"/>
                  </a:cubicBezTo>
                </a:path>
                <a:path w="1074" h="1584" extrusionOk="0">
                  <a:moveTo>
                    <a:pt x="773" y="410"/>
                  </a:moveTo>
                  <a:cubicBezTo>
                    <a:pt x="762" y="441"/>
                    <a:pt x="750" y="465"/>
                    <a:pt x="751" y="498"/>
                  </a:cubicBezTo>
                  <a:cubicBezTo>
                    <a:pt x="752" y="527"/>
                    <a:pt x="766" y="553"/>
                    <a:pt x="790" y="570"/>
                  </a:cubicBezTo>
                  <a:cubicBezTo>
                    <a:pt x="817" y="588"/>
                    <a:pt x="853" y="588"/>
                    <a:pt x="883" y="578"/>
                  </a:cubicBezTo>
                  <a:cubicBezTo>
                    <a:pt x="912" y="568"/>
                    <a:pt x="946" y="546"/>
                    <a:pt x="960" y="518"/>
                  </a:cubicBezTo>
                  <a:cubicBezTo>
                    <a:pt x="981" y="476"/>
                    <a:pt x="937" y="457"/>
                    <a:pt x="903" y="450"/>
                  </a:cubicBezTo>
                  <a:cubicBezTo>
                    <a:pt x="860" y="441"/>
                    <a:pt x="815" y="451"/>
                    <a:pt x="775" y="463"/>
                  </a:cubicBezTo>
                  <a:cubicBezTo>
                    <a:pt x="767" y="465"/>
                    <a:pt x="759" y="468"/>
                    <a:pt x="751" y="470"/>
                  </a:cubicBezTo>
                </a:path>
                <a:path w="1074" h="1584" extrusionOk="0">
                  <a:moveTo>
                    <a:pt x="683" y="942"/>
                  </a:moveTo>
                  <a:cubicBezTo>
                    <a:pt x="704" y="916"/>
                    <a:pt x="703" y="908"/>
                    <a:pt x="698" y="874"/>
                  </a:cubicBezTo>
                  <a:cubicBezTo>
                    <a:pt x="692" y="835"/>
                    <a:pt x="713" y="909"/>
                    <a:pt x="716" y="919"/>
                  </a:cubicBezTo>
                  <a:cubicBezTo>
                    <a:pt x="724" y="949"/>
                    <a:pt x="728" y="965"/>
                    <a:pt x="748" y="987"/>
                  </a:cubicBezTo>
                  <a:cubicBezTo>
                    <a:pt x="779" y="964"/>
                    <a:pt x="788" y="942"/>
                    <a:pt x="801" y="905"/>
                  </a:cubicBezTo>
                  <a:cubicBezTo>
                    <a:pt x="814" y="869"/>
                    <a:pt x="821" y="830"/>
                    <a:pt x="821" y="792"/>
                  </a:cubicBezTo>
                  <a:cubicBezTo>
                    <a:pt x="820" y="771"/>
                    <a:pt x="820" y="765"/>
                    <a:pt x="813" y="752"/>
                  </a:cubicBezTo>
                  <a:cubicBezTo>
                    <a:pt x="826" y="790"/>
                    <a:pt x="849" y="805"/>
                    <a:pt x="886" y="824"/>
                  </a:cubicBezTo>
                  <a:cubicBezTo>
                    <a:pt x="891" y="826"/>
                    <a:pt x="896" y="829"/>
                    <a:pt x="901" y="831"/>
                  </a:cubicBezTo>
                  <a:cubicBezTo>
                    <a:pt x="870" y="853"/>
                    <a:pt x="870" y="866"/>
                    <a:pt x="868" y="905"/>
                  </a:cubicBezTo>
                  <a:cubicBezTo>
                    <a:pt x="867" y="929"/>
                    <a:pt x="867" y="952"/>
                    <a:pt x="860" y="975"/>
                  </a:cubicBezTo>
                  <a:cubicBezTo>
                    <a:pt x="853" y="999"/>
                    <a:pt x="843" y="1024"/>
                    <a:pt x="825" y="1042"/>
                  </a:cubicBezTo>
                  <a:cubicBezTo>
                    <a:pt x="804" y="1063"/>
                    <a:pt x="770" y="1098"/>
                    <a:pt x="746" y="1062"/>
                  </a:cubicBezTo>
                  <a:cubicBezTo>
                    <a:pt x="731" y="1039"/>
                    <a:pt x="732" y="1004"/>
                    <a:pt x="710" y="985"/>
                  </a:cubicBezTo>
                  <a:cubicBezTo>
                    <a:pt x="694" y="979"/>
                    <a:pt x="690" y="976"/>
                    <a:pt x="706" y="964"/>
                  </a:cubicBezTo>
                </a:path>
              </a:pathLst>
            </a:custGeom>
            <a:grpFill/>
            <a:ln w="19050" cap="rnd">
              <a:solidFill>
                <a:schemeClr val="tx1"/>
              </a:solidFill>
              <a:round/>
              <a:headEnd/>
              <a:tailEnd/>
            </a:ln>
          </p:spPr>
          <p:txBody>
            <a:bodyPr>
              <a:prstTxWarp prst="textNoShape">
                <a:avLst/>
              </a:prstTxWarp>
            </a:bodyPr>
            <a:lstStyle/>
            <a:p>
              <a:pPr>
                <a:defRPr/>
              </a:pPr>
              <a:endParaRPr lang="en-US">
                <a:latin typeface="Arial" charset="0"/>
                <a:ea typeface="ＭＳ Ｐゴシック" charset="-128"/>
                <a:cs typeface="ＭＳ Ｐゴシック" charset="-128"/>
              </a:endParaRPr>
            </a:p>
          </p:txBody>
        </p:sp>
        <p:sp>
          <p:nvSpPr>
            <p:cNvPr id="20" name="Freeform 37"/>
            <p:cNvSpPr>
              <a:spLocks noRot="1" noChangeAspect="1" noEditPoints="1" noChangeArrowheads="1" noChangeShapeType="1" noTextEdit="1"/>
            </p:cNvSpPr>
            <p:nvPr/>
          </p:nvSpPr>
          <p:spPr bwMode="auto">
            <a:xfrm>
              <a:off x="2076" y="1993"/>
              <a:ext cx="575" cy="224"/>
            </a:xfrm>
            <a:custGeom>
              <a:avLst/>
              <a:gdLst/>
              <a:ahLst/>
              <a:cxnLst>
                <a:cxn ang="0">
                  <a:pos x="808" y="848"/>
                </a:cxn>
                <a:cxn ang="0">
                  <a:pos x="900" y="806"/>
                </a:cxn>
                <a:cxn ang="0">
                  <a:pos x="1065" y="770"/>
                </a:cxn>
                <a:cxn ang="0">
                  <a:pos x="1155" y="745"/>
                </a:cxn>
                <a:cxn ang="0">
                  <a:pos x="1138" y="786"/>
                </a:cxn>
                <a:cxn ang="0">
                  <a:pos x="1153" y="778"/>
                </a:cxn>
                <a:cxn ang="0">
                  <a:pos x="1170" y="783"/>
                </a:cxn>
                <a:cxn ang="0">
                  <a:pos x="1195" y="907"/>
                </a:cxn>
                <a:cxn ang="0">
                  <a:pos x="1251" y="851"/>
                </a:cxn>
                <a:cxn ang="0">
                  <a:pos x="1351" y="794"/>
                </a:cxn>
                <a:cxn ang="0">
                  <a:pos x="1489" y="743"/>
                </a:cxn>
                <a:cxn ang="0">
                  <a:pos x="1576" y="733"/>
                </a:cxn>
                <a:cxn ang="0">
                  <a:pos x="1593" y="723"/>
                </a:cxn>
                <a:cxn ang="0">
                  <a:pos x="1539" y="650"/>
                </a:cxn>
                <a:cxn ang="0">
                  <a:pos x="1506" y="454"/>
                </a:cxn>
                <a:cxn ang="0">
                  <a:pos x="1608" y="392"/>
                </a:cxn>
                <a:cxn ang="0">
                  <a:pos x="1691" y="505"/>
                </a:cxn>
                <a:cxn ang="0">
                  <a:pos x="1696" y="597"/>
                </a:cxn>
                <a:cxn ang="0">
                  <a:pos x="1721" y="710"/>
                </a:cxn>
                <a:cxn ang="0">
                  <a:pos x="17" y="967"/>
                </a:cxn>
                <a:cxn ang="0">
                  <a:pos x="57" y="949"/>
                </a:cxn>
                <a:cxn ang="0">
                  <a:pos x="260" y="959"/>
                </a:cxn>
                <a:cxn ang="0">
                  <a:pos x="1041" y="783"/>
                </a:cxn>
                <a:cxn ang="0">
                  <a:pos x="1539" y="716"/>
                </a:cxn>
                <a:cxn ang="0">
                  <a:pos x="1954" y="710"/>
                </a:cxn>
                <a:cxn ang="0">
                  <a:pos x="2169" y="612"/>
                </a:cxn>
                <a:cxn ang="0">
                  <a:pos x="2113" y="612"/>
                </a:cxn>
                <a:cxn ang="0">
                  <a:pos x="1726" y="492"/>
                </a:cxn>
                <a:cxn ang="0">
                  <a:pos x="1818" y="455"/>
                </a:cxn>
                <a:cxn ang="0">
                  <a:pos x="1916" y="394"/>
                </a:cxn>
                <a:cxn ang="0">
                  <a:pos x="1979" y="352"/>
                </a:cxn>
                <a:cxn ang="0">
                  <a:pos x="1714" y="673"/>
                </a:cxn>
                <a:cxn ang="0">
                  <a:pos x="1698" y="691"/>
                </a:cxn>
                <a:cxn ang="0">
                  <a:pos x="1761" y="623"/>
                </a:cxn>
                <a:cxn ang="0">
                  <a:pos x="1858" y="590"/>
                </a:cxn>
                <a:cxn ang="0">
                  <a:pos x="1986" y="537"/>
                </a:cxn>
                <a:cxn ang="0">
                  <a:pos x="2079" y="480"/>
                </a:cxn>
                <a:cxn ang="0">
                  <a:pos x="2096" y="480"/>
                </a:cxn>
                <a:cxn ang="0">
                  <a:pos x="2068" y="85"/>
                </a:cxn>
                <a:cxn ang="0">
                  <a:pos x="2146" y="37"/>
                </a:cxn>
                <a:cxn ang="0">
                  <a:pos x="2243" y="2"/>
                </a:cxn>
                <a:cxn ang="0">
                  <a:pos x="2309" y="35"/>
                </a:cxn>
                <a:cxn ang="0">
                  <a:pos x="2266" y="98"/>
                </a:cxn>
                <a:cxn ang="0">
                  <a:pos x="2141" y="244"/>
                </a:cxn>
                <a:cxn ang="0">
                  <a:pos x="2241" y="239"/>
                </a:cxn>
                <a:cxn ang="0">
                  <a:pos x="2323" y="231"/>
                </a:cxn>
                <a:cxn ang="0">
                  <a:pos x="2294" y="258"/>
                </a:cxn>
                <a:cxn ang="0">
                  <a:pos x="2196" y="344"/>
                </a:cxn>
                <a:cxn ang="0">
                  <a:pos x="2213" y="344"/>
                </a:cxn>
                <a:cxn ang="0">
                  <a:pos x="2328" y="342"/>
                </a:cxn>
                <a:cxn ang="0">
                  <a:pos x="2298" y="424"/>
                </a:cxn>
                <a:cxn ang="0">
                  <a:pos x="2308" y="502"/>
                </a:cxn>
                <a:cxn ang="0">
                  <a:pos x="2507" y="472"/>
                </a:cxn>
                <a:cxn ang="0">
                  <a:pos x="2534" y="507"/>
                </a:cxn>
              </a:cxnLst>
              <a:rect l="0" t="0" r="r" b="b"/>
              <a:pathLst>
                <a:path w="2535" h="985" extrusionOk="0">
                  <a:moveTo>
                    <a:pt x="808" y="848"/>
                  </a:moveTo>
                  <a:cubicBezTo>
                    <a:pt x="840" y="827"/>
                    <a:pt x="862" y="811"/>
                    <a:pt x="900" y="806"/>
                  </a:cubicBezTo>
                  <a:cubicBezTo>
                    <a:pt x="957" y="798"/>
                    <a:pt x="1010" y="790"/>
                    <a:pt x="1065" y="770"/>
                  </a:cubicBezTo>
                  <a:cubicBezTo>
                    <a:pt x="1084" y="763"/>
                    <a:pt x="1134" y="739"/>
                    <a:pt x="1155" y="745"/>
                  </a:cubicBezTo>
                  <a:cubicBezTo>
                    <a:pt x="1214" y="762"/>
                    <a:pt x="1145" y="767"/>
                    <a:pt x="1138" y="786"/>
                  </a:cubicBezTo>
                  <a:cubicBezTo>
                    <a:pt x="1143" y="783"/>
                    <a:pt x="1148" y="781"/>
                    <a:pt x="1153" y="778"/>
                  </a:cubicBezTo>
                  <a:cubicBezTo>
                    <a:pt x="1159" y="780"/>
                    <a:pt x="1164" y="781"/>
                    <a:pt x="1170" y="783"/>
                  </a:cubicBezTo>
                  <a:cubicBezTo>
                    <a:pt x="1181" y="824"/>
                    <a:pt x="1184" y="866"/>
                    <a:pt x="1195" y="907"/>
                  </a:cubicBezTo>
                  <a:cubicBezTo>
                    <a:pt x="1220" y="891"/>
                    <a:pt x="1229" y="882"/>
                    <a:pt x="1251" y="851"/>
                  </a:cubicBezTo>
                  <a:cubicBezTo>
                    <a:pt x="1272" y="822"/>
                    <a:pt x="1320" y="810"/>
                    <a:pt x="1351" y="794"/>
                  </a:cubicBezTo>
                  <a:cubicBezTo>
                    <a:pt x="1394" y="772"/>
                    <a:pt x="1440" y="749"/>
                    <a:pt x="1489" y="743"/>
                  </a:cubicBezTo>
                  <a:cubicBezTo>
                    <a:pt x="1518" y="739"/>
                    <a:pt x="1548" y="744"/>
                    <a:pt x="1576" y="733"/>
                  </a:cubicBezTo>
                  <a:cubicBezTo>
                    <a:pt x="1582" y="730"/>
                    <a:pt x="1587" y="726"/>
                    <a:pt x="1593" y="723"/>
                  </a:cubicBezTo>
                  <a:cubicBezTo>
                    <a:pt x="1579" y="705"/>
                    <a:pt x="1554" y="676"/>
                    <a:pt x="1539" y="650"/>
                  </a:cubicBezTo>
                  <a:cubicBezTo>
                    <a:pt x="1508" y="596"/>
                    <a:pt x="1481" y="516"/>
                    <a:pt x="1506" y="454"/>
                  </a:cubicBezTo>
                  <a:cubicBezTo>
                    <a:pt x="1519" y="422"/>
                    <a:pt x="1577" y="378"/>
                    <a:pt x="1608" y="392"/>
                  </a:cubicBezTo>
                  <a:cubicBezTo>
                    <a:pt x="1629" y="401"/>
                    <a:pt x="1685" y="481"/>
                    <a:pt x="1691" y="505"/>
                  </a:cubicBezTo>
                  <a:cubicBezTo>
                    <a:pt x="1699" y="534"/>
                    <a:pt x="1696" y="568"/>
                    <a:pt x="1696" y="597"/>
                  </a:cubicBezTo>
                  <a:cubicBezTo>
                    <a:pt x="1696" y="646"/>
                    <a:pt x="1702" y="669"/>
                    <a:pt x="1721" y="710"/>
                  </a:cubicBezTo>
                </a:path>
                <a:path w="2535" h="985" extrusionOk="0">
                  <a:moveTo>
                    <a:pt x="17" y="967"/>
                  </a:moveTo>
                  <a:cubicBezTo>
                    <a:pt x="41" y="946"/>
                    <a:pt x="25" y="952"/>
                    <a:pt x="57" y="949"/>
                  </a:cubicBezTo>
                  <a:cubicBezTo>
                    <a:pt x="124" y="944"/>
                    <a:pt x="193" y="959"/>
                    <a:pt x="260" y="959"/>
                  </a:cubicBezTo>
                  <a:cubicBezTo>
                    <a:pt x="525" y="957"/>
                    <a:pt x="789" y="853"/>
                    <a:pt x="1041" y="783"/>
                  </a:cubicBezTo>
                  <a:cubicBezTo>
                    <a:pt x="1208" y="737"/>
                    <a:pt x="1366" y="705"/>
                    <a:pt x="1539" y="716"/>
                  </a:cubicBezTo>
                  <a:cubicBezTo>
                    <a:pt x="1684" y="725"/>
                    <a:pt x="1812" y="752"/>
                    <a:pt x="1954" y="710"/>
                  </a:cubicBezTo>
                  <a:cubicBezTo>
                    <a:pt x="2031" y="687"/>
                    <a:pt x="2099" y="651"/>
                    <a:pt x="2169" y="612"/>
                  </a:cubicBezTo>
                  <a:cubicBezTo>
                    <a:pt x="2115" y="628"/>
                    <a:pt x="2151" y="619"/>
                    <a:pt x="2113" y="612"/>
                  </a:cubicBezTo>
                </a:path>
                <a:path w="2535" h="985" extrusionOk="0">
                  <a:moveTo>
                    <a:pt x="1726" y="492"/>
                  </a:moveTo>
                  <a:cubicBezTo>
                    <a:pt x="1760" y="488"/>
                    <a:pt x="1787" y="473"/>
                    <a:pt x="1818" y="455"/>
                  </a:cubicBezTo>
                  <a:cubicBezTo>
                    <a:pt x="1851" y="435"/>
                    <a:pt x="1883" y="415"/>
                    <a:pt x="1916" y="394"/>
                  </a:cubicBezTo>
                  <a:cubicBezTo>
                    <a:pt x="1937" y="380"/>
                    <a:pt x="1958" y="366"/>
                    <a:pt x="1979" y="352"/>
                  </a:cubicBezTo>
                </a:path>
                <a:path w="2535" h="985" extrusionOk="0">
                  <a:moveTo>
                    <a:pt x="1714" y="673"/>
                  </a:moveTo>
                  <a:cubicBezTo>
                    <a:pt x="1709" y="679"/>
                    <a:pt x="1703" y="685"/>
                    <a:pt x="1698" y="691"/>
                  </a:cubicBezTo>
                  <a:cubicBezTo>
                    <a:pt x="1712" y="661"/>
                    <a:pt x="1729" y="638"/>
                    <a:pt x="1761" y="623"/>
                  </a:cubicBezTo>
                  <a:cubicBezTo>
                    <a:pt x="1792" y="609"/>
                    <a:pt x="1826" y="600"/>
                    <a:pt x="1858" y="590"/>
                  </a:cubicBezTo>
                  <a:cubicBezTo>
                    <a:pt x="1901" y="576"/>
                    <a:pt x="1946" y="558"/>
                    <a:pt x="1986" y="537"/>
                  </a:cubicBezTo>
                  <a:cubicBezTo>
                    <a:pt x="2015" y="522"/>
                    <a:pt x="2049" y="490"/>
                    <a:pt x="2079" y="480"/>
                  </a:cubicBezTo>
                  <a:cubicBezTo>
                    <a:pt x="2085" y="480"/>
                    <a:pt x="2090" y="480"/>
                    <a:pt x="2096" y="480"/>
                  </a:cubicBezTo>
                </a:path>
                <a:path w="2535" h="985" extrusionOk="0">
                  <a:moveTo>
                    <a:pt x="2068" y="85"/>
                  </a:moveTo>
                  <a:cubicBezTo>
                    <a:pt x="2091" y="67"/>
                    <a:pt x="2120" y="48"/>
                    <a:pt x="2146" y="37"/>
                  </a:cubicBezTo>
                  <a:cubicBezTo>
                    <a:pt x="2176" y="25"/>
                    <a:pt x="2211" y="9"/>
                    <a:pt x="2243" y="2"/>
                  </a:cubicBezTo>
                  <a:cubicBezTo>
                    <a:pt x="2273" y="-5"/>
                    <a:pt x="2315" y="-6"/>
                    <a:pt x="2309" y="35"/>
                  </a:cubicBezTo>
                  <a:cubicBezTo>
                    <a:pt x="2306" y="56"/>
                    <a:pt x="2278" y="82"/>
                    <a:pt x="2266" y="98"/>
                  </a:cubicBezTo>
                </a:path>
                <a:path w="2535" h="985" extrusionOk="0">
                  <a:moveTo>
                    <a:pt x="2141" y="244"/>
                  </a:moveTo>
                  <a:cubicBezTo>
                    <a:pt x="2176" y="246"/>
                    <a:pt x="2207" y="242"/>
                    <a:pt x="2241" y="239"/>
                  </a:cubicBezTo>
                  <a:cubicBezTo>
                    <a:pt x="2246" y="239"/>
                    <a:pt x="2323" y="229"/>
                    <a:pt x="2323" y="231"/>
                  </a:cubicBezTo>
                  <a:cubicBezTo>
                    <a:pt x="2311" y="250"/>
                    <a:pt x="2309" y="256"/>
                    <a:pt x="2294" y="258"/>
                  </a:cubicBezTo>
                </a:path>
                <a:path w="2535" h="985" extrusionOk="0">
                  <a:moveTo>
                    <a:pt x="2196" y="344"/>
                  </a:moveTo>
                  <a:cubicBezTo>
                    <a:pt x="2202" y="344"/>
                    <a:pt x="2207" y="344"/>
                    <a:pt x="2213" y="344"/>
                  </a:cubicBezTo>
                </a:path>
                <a:path w="2535" h="985" extrusionOk="0">
                  <a:moveTo>
                    <a:pt x="2328" y="342"/>
                  </a:moveTo>
                  <a:cubicBezTo>
                    <a:pt x="2325" y="377"/>
                    <a:pt x="2308" y="393"/>
                    <a:pt x="2298" y="424"/>
                  </a:cubicBezTo>
                  <a:cubicBezTo>
                    <a:pt x="2291" y="447"/>
                    <a:pt x="2302" y="480"/>
                    <a:pt x="2308" y="502"/>
                  </a:cubicBezTo>
                </a:path>
                <a:path w="2535" h="985" extrusionOk="0">
                  <a:moveTo>
                    <a:pt x="2507" y="472"/>
                  </a:moveTo>
                  <a:cubicBezTo>
                    <a:pt x="2524" y="488"/>
                    <a:pt x="2529" y="492"/>
                    <a:pt x="2534" y="507"/>
                  </a:cubicBezTo>
                </a:path>
              </a:pathLst>
            </a:custGeom>
            <a:grpFill/>
            <a:ln w="19050" cap="rnd">
              <a:solidFill>
                <a:schemeClr val="tx1"/>
              </a:solidFill>
              <a:round/>
              <a:headEnd/>
              <a:tailEnd/>
            </a:ln>
          </p:spPr>
          <p:txBody>
            <a:bodyPr>
              <a:prstTxWarp prst="textNoShape">
                <a:avLst/>
              </a:prstTxWarp>
            </a:bodyPr>
            <a:lstStyle/>
            <a:p>
              <a:pPr>
                <a:defRPr/>
              </a:pPr>
              <a:endParaRPr lang="en-US">
                <a:latin typeface="Arial" charset="0"/>
                <a:ea typeface="ＭＳ Ｐゴシック" charset="-128"/>
                <a:cs typeface="ＭＳ Ｐゴシック" charset="-128"/>
              </a:endParaRPr>
            </a:p>
          </p:txBody>
        </p:sp>
      </p:grpSp>
      <p:sp>
        <p:nvSpPr>
          <p:cNvPr id="43017" name="Oval 44"/>
          <p:cNvSpPr>
            <a:spLocks noChangeArrowheads="1"/>
          </p:cNvSpPr>
          <p:nvPr/>
        </p:nvSpPr>
        <p:spPr bwMode="auto">
          <a:xfrm>
            <a:off x="1965325" y="1797050"/>
            <a:ext cx="90488" cy="203200"/>
          </a:xfrm>
          <a:prstGeom prst="ellipse">
            <a:avLst/>
          </a:prstGeom>
          <a:solidFill>
            <a:srgbClr val="FFFF00"/>
          </a:solidFill>
          <a:ln w="9525">
            <a:solidFill>
              <a:schemeClr val="tx1"/>
            </a:solidFill>
            <a:round/>
            <a:headEnd/>
            <a:tailEnd/>
          </a:ln>
        </p:spPr>
        <p:txBody>
          <a:bodyPr wrap="none" anchor="ctr">
            <a:prstTxWarp prst="textNoShape">
              <a:avLst/>
            </a:prstTxWarp>
          </a:bodyPr>
          <a:lstStyle/>
          <a:p>
            <a:endParaRPr lang="en-US"/>
          </a:p>
        </p:txBody>
      </p:sp>
      <p:sp>
        <p:nvSpPr>
          <p:cNvPr id="43018" name="Oval 45"/>
          <p:cNvSpPr>
            <a:spLocks noChangeArrowheads="1"/>
          </p:cNvSpPr>
          <p:nvPr/>
        </p:nvSpPr>
        <p:spPr bwMode="auto">
          <a:xfrm>
            <a:off x="2117725" y="1949450"/>
            <a:ext cx="90488" cy="203200"/>
          </a:xfrm>
          <a:prstGeom prst="ellipse">
            <a:avLst/>
          </a:prstGeom>
          <a:solidFill>
            <a:srgbClr val="73E44F"/>
          </a:solidFill>
          <a:ln w="9525">
            <a:solidFill>
              <a:schemeClr val="tx1"/>
            </a:solidFill>
            <a:round/>
            <a:headEnd/>
            <a:tailEnd/>
          </a:ln>
        </p:spPr>
        <p:txBody>
          <a:bodyPr wrap="none" anchor="ctr">
            <a:prstTxWarp prst="textNoShape">
              <a:avLst/>
            </a:prstTxWarp>
          </a:bodyPr>
          <a:lstStyle/>
          <a:p>
            <a:endParaRPr lang="en-US"/>
          </a:p>
        </p:txBody>
      </p:sp>
      <p:sp>
        <p:nvSpPr>
          <p:cNvPr id="43019" name="Oval 46"/>
          <p:cNvSpPr>
            <a:spLocks noChangeArrowheads="1"/>
          </p:cNvSpPr>
          <p:nvPr/>
        </p:nvSpPr>
        <p:spPr bwMode="auto">
          <a:xfrm>
            <a:off x="1979613" y="2000250"/>
            <a:ext cx="90487" cy="203200"/>
          </a:xfrm>
          <a:prstGeom prst="ellipse">
            <a:avLst/>
          </a:prstGeom>
          <a:gradFill rotWithShape="1">
            <a:gsLst>
              <a:gs pos="0">
                <a:srgbClr val="3366FF"/>
              </a:gs>
              <a:gs pos="100000">
                <a:srgbClr val="182F76"/>
              </a:gs>
            </a:gsLst>
            <a:lin ang="0" scaled="1"/>
          </a:gradFill>
          <a:ln w="9525">
            <a:solidFill>
              <a:schemeClr val="tx1"/>
            </a:solidFill>
            <a:round/>
            <a:headEnd/>
            <a:tailEnd/>
          </a:ln>
        </p:spPr>
        <p:txBody>
          <a:bodyPr wrap="none" anchor="ctr">
            <a:prstTxWarp prst="textNoShape">
              <a:avLst/>
            </a:prstTxWarp>
          </a:bodyPr>
          <a:lstStyle/>
          <a:p>
            <a:endParaRPr lang="en-US"/>
          </a:p>
        </p:txBody>
      </p:sp>
      <p:sp>
        <p:nvSpPr>
          <p:cNvPr id="43020" name="Oval 47"/>
          <p:cNvSpPr>
            <a:spLocks noChangeArrowheads="1"/>
          </p:cNvSpPr>
          <p:nvPr/>
        </p:nvSpPr>
        <p:spPr bwMode="auto">
          <a:xfrm>
            <a:off x="3103563" y="2776538"/>
            <a:ext cx="90487" cy="203200"/>
          </a:xfrm>
          <a:prstGeom prst="ellipse">
            <a:avLst/>
          </a:prstGeom>
          <a:solidFill>
            <a:srgbClr val="FFFF00"/>
          </a:solidFill>
          <a:ln w="9525">
            <a:solidFill>
              <a:schemeClr val="tx1"/>
            </a:solidFill>
            <a:round/>
            <a:headEnd/>
            <a:tailEnd/>
          </a:ln>
        </p:spPr>
        <p:txBody>
          <a:bodyPr wrap="none" anchor="ctr">
            <a:prstTxWarp prst="textNoShape">
              <a:avLst/>
            </a:prstTxWarp>
          </a:bodyPr>
          <a:lstStyle/>
          <a:p>
            <a:endParaRPr lang="en-US"/>
          </a:p>
        </p:txBody>
      </p:sp>
      <p:sp>
        <p:nvSpPr>
          <p:cNvPr id="43021" name="Oval 48"/>
          <p:cNvSpPr>
            <a:spLocks noChangeArrowheads="1"/>
          </p:cNvSpPr>
          <p:nvPr/>
        </p:nvSpPr>
        <p:spPr bwMode="auto">
          <a:xfrm>
            <a:off x="3463925" y="1941513"/>
            <a:ext cx="71438" cy="160337"/>
          </a:xfrm>
          <a:prstGeom prst="ellipse">
            <a:avLst/>
          </a:prstGeom>
          <a:solidFill>
            <a:srgbClr val="73E44F"/>
          </a:solidFill>
          <a:ln w="9525">
            <a:solidFill>
              <a:schemeClr val="tx1"/>
            </a:solidFill>
            <a:round/>
            <a:headEnd/>
            <a:tailEnd/>
          </a:ln>
        </p:spPr>
        <p:txBody>
          <a:bodyPr wrap="none" anchor="ctr">
            <a:prstTxWarp prst="textNoShape">
              <a:avLst/>
            </a:prstTxWarp>
          </a:bodyPr>
          <a:lstStyle/>
          <a:p>
            <a:endParaRPr lang="en-US"/>
          </a:p>
        </p:txBody>
      </p:sp>
      <p:sp>
        <p:nvSpPr>
          <p:cNvPr id="43022" name="Oval 49"/>
          <p:cNvSpPr>
            <a:spLocks noChangeArrowheads="1"/>
          </p:cNvSpPr>
          <p:nvPr/>
        </p:nvSpPr>
        <p:spPr bwMode="auto">
          <a:xfrm>
            <a:off x="3543300" y="2079625"/>
            <a:ext cx="71438" cy="160338"/>
          </a:xfrm>
          <a:prstGeom prst="ellipse">
            <a:avLst/>
          </a:prstGeom>
          <a:gradFill rotWithShape="1">
            <a:gsLst>
              <a:gs pos="0">
                <a:srgbClr val="3366FF"/>
              </a:gs>
              <a:gs pos="100000">
                <a:srgbClr val="182F76"/>
              </a:gs>
            </a:gsLst>
            <a:lin ang="0" scaled="1"/>
          </a:gradFill>
          <a:ln w="9525">
            <a:solidFill>
              <a:schemeClr val="tx1"/>
            </a:solidFill>
            <a:round/>
            <a:headEnd/>
            <a:tailEnd/>
          </a:ln>
        </p:spPr>
        <p:txBody>
          <a:bodyPr wrap="none" anchor="ctr">
            <a:prstTxWarp prst="textNoShape">
              <a:avLst/>
            </a:prstTxWarp>
          </a:bodyPr>
          <a:lstStyle/>
          <a:p>
            <a:endParaRPr lang="en-US"/>
          </a:p>
        </p:txBody>
      </p:sp>
      <p:sp>
        <p:nvSpPr>
          <p:cNvPr id="43023" name="Oval 50"/>
          <p:cNvSpPr>
            <a:spLocks noChangeArrowheads="1"/>
          </p:cNvSpPr>
          <p:nvPr/>
        </p:nvSpPr>
        <p:spPr bwMode="auto">
          <a:xfrm flipH="1">
            <a:off x="4695825" y="2217738"/>
            <a:ext cx="46038" cy="101600"/>
          </a:xfrm>
          <a:prstGeom prst="ellipse">
            <a:avLst/>
          </a:prstGeom>
          <a:gradFill rotWithShape="1">
            <a:gsLst>
              <a:gs pos="0">
                <a:srgbClr val="3366FF"/>
              </a:gs>
              <a:gs pos="100000">
                <a:srgbClr val="182F76"/>
              </a:gs>
            </a:gsLst>
            <a:lin ang="0" scaled="1"/>
          </a:gradFill>
          <a:ln w="9525">
            <a:solidFill>
              <a:schemeClr val="tx1"/>
            </a:solidFill>
            <a:round/>
            <a:headEnd/>
            <a:tailEnd/>
          </a:ln>
        </p:spPr>
        <p:txBody>
          <a:bodyPr wrap="none" anchor="ctr">
            <a:prstTxWarp prst="textNoShape">
              <a:avLst/>
            </a:prstTxWarp>
          </a:bodyPr>
          <a:lstStyle/>
          <a:p>
            <a:endParaRPr lang="en-US"/>
          </a:p>
        </p:txBody>
      </p:sp>
      <p:sp>
        <p:nvSpPr>
          <p:cNvPr id="43024" name="Oval 52"/>
          <p:cNvSpPr>
            <a:spLocks noChangeArrowheads="1"/>
          </p:cNvSpPr>
          <p:nvPr/>
        </p:nvSpPr>
        <p:spPr bwMode="auto">
          <a:xfrm flipH="1">
            <a:off x="4803775" y="2660650"/>
            <a:ext cx="46038" cy="101600"/>
          </a:xfrm>
          <a:prstGeom prst="ellipse">
            <a:avLst/>
          </a:prstGeom>
          <a:gradFill rotWithShape="1">
            <a:gsLst>
              <a:gs pos="0">
                <a:srgbClr val="3366FF"/>
              </a:gs>
              <a:gs pos="100000">
                <a:srgbClr val="182F76"/>
              </a:gs>
            </a:gsLst>
            <a:lin ang="0" scaled="1"/>
          </a:gradFill>
          <a:ln w="9525">
            <a:solidFill>
              <a:schemeClr val="tx1"/>
            </a:solidFill>
            <a:round/>
            <a:headEnd/>
            <a:tailEnd/>
          </a:ln>
        </p:spPr>
        <p:txBody>
          <a:bodyPr wrap="none" anchor="ctr">
            <a:prstTxWarp prst="textNoShape">
              <a:avLst/>
            </a:prstTxWarp>
          </a:bodyPr>
          <a:lstStyle/>
          <a:p>
            <a:endParaRPr lang="en-US"/>
          </a:p>
        </p:txBody>
      </p:sp>
      <p:sp>
        <p:nvSpPr>
          <p:cNvPr id="43025" name="Oval 53"/>
          <p:cNvSpPr>
            <a:spLocks noChangeArrowheads="1"/>
          </p:cNvSpPr>
          <p:nvPr/>
        </p:nvSpPr>
        <p:spPr bwMode="auto">
          <a:xfrm flipH="1">
            <a:off x="5000625" y="2522538"/>
            <a:ext cx="46038" cy="101600"/>
          </a:xfrm>
          <a:prstGeom prst="ellipse">
            <a:avLst/>
          </a:prstGeom>
          <a:gradFill rotWithShape="1">
            <a:gsLst>
              <a:gs pos="0">
                <a:srgbClr val="3366FF"/>
              </a:gs>
              <a:gs pos="100000">
                <a:srgbClr val="182F76"/>
              </a:gs>
            </a:gsLst>
            <a:lin ang="0" scaled="1"/>
          </a:gradFill>
          <a:ln w="9525">
            <a:solidFill>
              <a:schemeClr val="tx1"/>
            </a:solidFill>
            <a:round/>
            <a:headEnd/>
            <a:tailEnd/>
          </a:ln>
        </p:spPr>
        <p:txBody>
          <a:bodyPr wrap="none" anchor="ctr">
            <a:prstTxWarp prst="textNoShape">
              <a:avLst/>
            </a:prstTxWarp>
          </a:bodyPr>
          <a:lstStyle/>
          <a:p>
            <a:endParaRPr lang="en-US"/>
          </a:p>
        </p:txBody>
      </p:sp>
      <p:sp>
        <p:nvSpPr>
          <p:cNvPr id="43026" name="Oval 54"/>
          <p:cNvSpPr>
            <a:spLocks noChangeArrowheads="1"/>
          </p:cNvSpPr>
          <p:nvPr/>
        </p:nvSpPr>
        <p:spPr bwMode="auto">
          <a:xfrm flipH="1">
            <a:off x="4673600" y="2690813"/>
            <a:ext cx="46038" cy="101600"/>
          </a:xfrm>
          <a:prstGeom prst="ellipse">
            <a:avLst/>
          </a:prstGeom>
          <a:gradFill rotWithShape="1">
            <a:gsLst>
              <a:gs pos="0">
                <a:srgbClr val="3366FF"/>
              </a:gs>
              <a:gs pos="100000">
                <a:srgbClr val="182F76"/>
              </a:gs>
            </a:gsLst>
            <a:lin ang="0" scaled="1"/>
          </a:gradFill>
          <a:ln w="9525">
            <a:solidFill>
              <a:schemeClr val="tx1"/>
            </a:solidFill>
            <a:round/>
            <a:headEnd/>
            <a:tailEnd/>
          </a:ln>
        </p:spPr>
        <p:txBody>
          <a:bodyPr wrap="none" anchor="ctr">
            <a:prstTxWarp prst="textNoShape">
              <a:avLst/>
            </a:prstTxWarp>
          </a:bodyPr>
          <a:lstStyle/>
          <a:p>
            <a:endParaRPr lang="en-US"/>
          </a:p>
        </p:txBody>
      </p:sp>
      <p:sp>
        <p:nvSpPr>
          <p:cNvPr id="43027" name="Oval 55"/>
          <p:cNvSpPr>
            <a:spLocks noChangeArrowheads="1"/>
          </p:cNvSpPr>
          <p:nvPr/>
        </p:nvSpPr>
        <p:spPr bwMode="auto">
          <a:xfrm flipH="1">
            <a:off x="4767263" y="2768600"/>
            <a:ext cx="46037" cy="101600"/>
          </a:xfrm>
          <a:prstGeom prst="ellipse">
            <a:avLst/>
          </a:prstGeom>
          <a:gradFill rotWithShape="1">
            <a:gsLst>
              <a:gs pos="0">
                <a:srgbClr val="3366FF"/>
              </a:gs>
              <a:gs pos="100000">
                <a:srgbClr val="182F76"/>
              </a:gs>
            </a:gsLst>
            <a:lin ang="0" scaled="1"/>
          </a:gradFill>
          <a:ln w="9525">
            <a:solidFill>
              <a:schemeClr val="tx1"/>
            </a:solidFill>
            <a:round/>
            <a:headEnd/>
            <a:tailEnd/>
          </a:ln>
        </p:spPr>
        <p:txBody>
          <a:bodyPr wrap="none" anchor="ctr">
            <a:prstTxWarp prst="textNoShape">
              <a:avLst/>
            </a:prstTxWarp>
          </a:bodyPr>
          <a:lstStyle/>
          <a:p>
            <a:endParaRPr lang="en-US"/>
          </a:p>
        </p:txBody>
      </p:sp>
      <p:sp>
        <p:nvSpPr>
          <p:cNvPr id="43028" name="Oval 56"/>
          <p:cNvSpPr>
            <a:spLocks noChangeArrowheads="1"/>
          </p:cNvSpPr>
          <p:nvPr/>
        </p:nvSpPr>
        <p:spPr bwMode="auto">
          <a:xfrm flipH="1">
            <a:off x="4681538" y="2798763"/>
            <a:ext cx="46037" cy="101600"/>
          </a:xfrm>
          <a:prstGeom prst="ellipse">
            <a:avLst/>
          </a:prstGeom>
          <a:gradFill rotWithShape="1">
            <a:gsLst>
              <a:gs pos="0">
                <a:srgbClr val="3366FF"/>
              </a:gs>
              <a:gs pos="100000">
                <a:srgbClr val="182F76"/>
              </a:gs>
            </a:gsLst>
            <a:lin ang="0" scaled="1"/>
          </a:gradFill>
          <a:ln w="9525">
            <a:solidFill>
              <a:schemeClr val="tx1"/>
            </a:solidFill>
            <a:round/>
            <a:headEnd/>
            <a:tailEnd/>
          </a:ln>
        </p:spPr>
        <p:txBody>
          <a:bodyPr wrap="none" anchor="ctr">
            <a:prstTxWarp prst="textNoShape">
              <a:avLst/>
            </a:prstTxWarp>
          </a:bodyPr>
          <a:lstStyle/>
          <a:p>
            <a:pPr algn="ctr"/>
            <a:endParaRPr lang="en-US" b="1"/>
          </a:p>
        </p:txBody>
      </p:sp>
      <p:sp>
        <p:nvSpPr>
          <p:cNvPr id="43029" name="Freeform 58"/>
          <p:cNvSpPr>
            <a:spLocks noRot="1" noChangeAspect="1" noEditPoints="1" noChangeArrowheads="1" noChangeShapeType="1" noTextEdit="1"/>
          </p:cNvSpPr>
          <p:nvPr/>
        </p:nvSpPr>
        <p:spPr bwMode="auto">
          <a:xfrm>
            <a:off x="6643688" y="2527300"/>
            <a:ext cx="466725" cy="488950"/>
          </a:xfrm>
          <a:custGeom>
            <a:avLst/>
            <a:gdLst>
              <a:gd name="T0" fmla="*/ 138902 w 1297"/>
              <a:gd name="T1" fmla="*/ 71185 h 1360"/>
              <a:gd name="T2" fmla="*/ 127027 w 1297"/>
              <a:gd name="T3" fmla="*/ 103902 h 1360"/>
              <a:gd name="T4" fmla="*/ 163012 w 1297"/>
              <a:gd name="T5" fmla="*/ 129428 h 1360"/>
              <a:gd name="T6" fmla="*/ 197557 w 1297"/>
              <a:gd name="T7" fmla="*/ 136618 h 1360"/>
              <a:gd name="T8" fmla="*/ 229944 w 1297"/>
              <a:gd name="T9" fmla="*/ 129068 h 1360"/>
              <a:gd name="T10" fmla="*/ 252974 w 1297"/>
              <a:gd name="T11" fmla="*/ 93835 h 1360"/>
              <a:gd name="T12" fmla="*/ 245058 w 1297"/>
              <a:gd name="T13" fmla="*/ 42783 h 1360"/>
              <a:gd name="T14" fmla="*/ 205474 w 1297"/>
              <a:gd name="T15" fmla="*/ 9348 h 1360"/>
              <a:gd name="T16" fmla="*/ 172368 w 1297"/>
              <a:gd name="T17" fmla="*/ 0 h 1360"/>
              <a:gd name="T18" fmla="*/ 168410 w 1297"/>
              <a:gd name="T19" fmla="*/ 19055 h 1360"/>
              <a:gd name="T20" fmla="*/ 133144 w 1297"/>
              <a:gd name="T21" fmla="*/ 134821 h 1360"/>
              <a:gd name="T22" fmla="*/ 157614 w 1297"/>
              <a:gd name="T23" fmla="*/ 112890 h 1360"/>
              <a:gd name="T24" fmla="*/ 131345 w 1297"/>
              <a:gd name="T25" fmla="*/ 124754 h 1360"/>
              <a:gd name="T26" fmla="*/ 14394 w 1297"/>
              <a:gd name="T27" fmla="*/ 148123 h 1360"/>
              <a:gd name="T28" fmla="*/ 7557 w 1297"/>
              <a:gd name="T29" fmla="*/ 149921 h 1360"/>
              <a:gd name="T30" fmla="*/ 22671 w 1297"/>
              <a:gd name="T31" fmla="*/ 157111 h 1360"/>
              <a:gd name="T32" fmla="*/ 52538 w 1297"/>
              <a:gd name="T33" fmla="*/ 176166 h 1360"/>
              <a:gd name="T34" fmla="*/ 138902 w 1297"/>
              <a:gd name="T35" fmla="*/ 200613 h 1360"/>
              <a:gd name="T36" fmla="*/ 162292 w 1297"/>
              <a:gd name="T37" fmla="*/ 216073 h 1360"/>
              <a:gd name="T38" fmla="*/ 145019 w 1297"/>
              <a:gd name="T39" fmla="*/ 223982 h 1360"/>
              <a:gd name="T40" fmla="*/ 120550 w 1297"/>
              <a:gd name="T41" fmla="*/ 267125 h 1360"/>
              <a:gd name="T42" fmla="*/ 32746 w 1297"/>
              <a:gd name="T43" fmla="*/ 442212 h 1360"/>
              <a:gd name="T44" fmla="*/ 26269 w 1297"/>
              <a:gd name="T45" fmla="*/ 484995 h 1360"/>
              <a:gd name="T46" fmla="*/ 43182 w 1297"/>
              <a:gd name="T47" fmla="*/ 471333 h 1360"/>
              <a:gd name="T48" fmla="*/ 88163 w 1297"/>
              <a:gd name="T49" fmla="*/ 419922 h 1360"/>
              <a:gd name="T50" fmla="*/ 164091 w 1297"/>
              <a:gd name="T51" fmla="*/ 384689 h 1360"/>
              <a:gd name="T52" fmla="*/ 213391 w 1297"/>
              <a:gd name="T53" fmla="*/ 426393 h 1360"/>
              <a:gd name="T54" fmla="*/ 238940 w 1297"/>
              <a:gd name="T55" fmla="*/ 438617 h 1360"/>
              <a:gd name="T56" fmla="*/ 244338 w 1297"/>
              <a:gd name="T57" fmla="*/ 441493 h 1360"/>
              <a:gd name="T58" fmla="*/ 247577 w 1297"/>
              <a:gd name="T59" fmla="*/ 344063 h 1360"/>
              <a:gd name="T60" fmla="*/ 250455 w 1297"/>
              <a:gd name="T61" fmla="*/ 200254 h 1360"/>
              <a:gd name="T62" fmla="*/ 244338 w 1297"/>
              <a:gd name="T63" fmla="*/ 103183 h 1360"/>
              <a:gd name="T64" fmla="*/ 228864 w 1297"/>
              <a:gd name="T65" fmla="*/ 80533 h 1360"/>
              <a:gd name="T66" fmla="*/ 245058 w 1297"/>
              <a:gd name="T67" fmla="*/ 106419 h 1360"/>
              <a:gd name="T68" fmla="*/ 363808 w 1297"/>
              <a:gd name="T69" fmla="*/ 48176 h 1360"/>
              <a:gd name="T70" fmla="*/ 356611 w 1297"/>
              <a:gd name="T71" fmla="*/ 38828 h 1360"/>
              <a:gd name="T72" fmla="*/ 340418 w 1297"/>
              <a:gd name="T73" fmla="*/ 62557 h 1360"/>
              <a:gd name="T74" fmla="*/ 357331 w 1297"/>
              <a:gd name="T75" fmla="*/ 89521 h 1360"/>
              <a:gd name="T76" fmla="*/ 382520 w 1297"/>
              <a:gd name="T77" fmla="*/ 99588 h 1360"/>
              <a:gd name="T78" fmla="*/ 406990 w 1297"/>
              <a:gd name="T79" fmla="*/ 83050 h 1360"/>
              <a:gd name="T80" fmla="*/ 412388 w 1297"/>
              <a:gd name="T81" fmla="*/ 49614 h 1360"/>
              <a:gd name="T82" fmla="*/ 397274 w 1297"/>
              <a:gd name="T83" fmla="*/ 20133 h 1360"/>
              <a:gd name="T84" fmla="*/ 373524 w 1297"/>
              <a:gd name="T85" fmla="*/ 17976 h 1360"/>
              <a:gd name="T86" fmla="*/ 363808 w 1297"/>
              <a:gd name="T87" fmla="*/ 39907 h 1360"/>
              <a:gd name="T88" fmla="*/ 398713 w 1297"/>
              <a:gd name="T89" fmla="*/ 145247 h 1360"/>
              <a:gd name="T90" fmla="*/ 413467 w 1297"/>
              <a:gd name="T91" fmla="*/ 174368 h 1360"/>
              <a:gd name="T92" fmla="*/ 436498 w 1297"/>
              <a:gd name="T93" fmla="*/ 242677 h 1360"/>
              <a:gd name="T94" fmla="*/ 452691 w 1297"/>
              <a:gd name="T95" fmla="*/ 336872 h 1360"/>
              <a:gd name="T96" fmla="*/ 463486 w 1297"/>
              <a:gd name="T97" fmla="*/ 454795 h 1360"/>
              <a:gd name="T98" fmla="*/ 459888 w 1297"/>
              <a:gd name="T99" fmla="*/ 426034 h 1360"/>
              <a:gd name="T100" fmla="*/ 441895 w 1297"/>
              <a:gd name="T101" fmla="*/ 401586 h 1360"/>
              <a:gd name="T102" fmla="*/ 395115 w 1297"/>
              <a:gd name="T103" fmla="*/ 374982 h 1360"/>
              <a:gd name="T104" fmla="*/ 352293 w 1297"/>
              <a:gd name="T105" fmla="*/ 378577 h 1360"/>
              <a:gd name="T106" fmla="*/ 319546 w 1297"/>
              <a:gd name="T107" fmla="*/ 390081 h 1360"/>
              <a:gd name="T108" fmla="*/ 256933 w 1297"/>
              <a:gd name="T109" fmla="*/ 432505 h 1360"/>
              <a:gd name="T110" fmla="*/ 249376 w 1297"/>
              <a:gd name="T111" fmla="*/ 440774 h 1360"/>
              <a:gd name="T112" fmla="*/ 256573 w 1297"/>
              <a:gd name="T113" fmla="*/ 429629 h 1360"/>
              <a:gd name="T114" fmla="*/ 262330 w 1297"/>
              <a:gd name="T115" fmla="*/ 403743 h 1360"/>
              <a:gd name="T116" fmla="*/ 274925 w 1297"/>
              <a:gd name="T117" fmla="*/ 273596 h 1360"/>
              <a:gd name="T118" fmla="*/ 294717 w 1297"/>
              <a:gd name="T119" fmla="*/ 185873 h 1360"/>
              <a:gd name="T120" fmla="*/ 306952 w 1297"/>
              <a:gd name="T121" fmla="*/ 184435 h 1360"/>
              <a:gd name="T122" fmla="*/ 307312 w 1297"/>
              <a:gd name="T123" fmla="*/ 195940 h 13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97"/>
              <a:gd name="T187" fmla="*/ 0 h 1360"/>
              <a:gd name="T188" fmla="*/ 1297 w 1297"/>
              <a:gd name="T189" fmla="*/ 1360 h 13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97" h="1360" extrusionOk="0">
                <a:moveTo>
                  <a:pt x="386" y="198"/>
                </a:moveTo>
                <a:cubicBezTo>
                  <a:pt x="362" y="228"/>
                  <a:pt x="341" y="249"/>
                  <a:pt x="353" y="289"/>
                </a:cubicBezTo>
                <a:cubicBezTo>
                  <a:pt x="365" y="330"/>
                  <a:pt x="417" y="346"/>
                  <a:pt x="453" y="360"/>
                </a:cubicBezTo>
                <a:cubicBezTo>
                  <a:pt x="484" y="372"/>
                  <a:pt x="515" y="379"/>
                  <a:pt x="549" y="380"/>
                </a:cubicBezTo>
                <a:cubicBezTo>
                  <a:pt x="581" y="381"/>
                  <a:pt x="612" y="380"/>
                  <a:pt x="639" y="359"/>
                </a:cubicBezTo>
                <a:cubicBezTo>
                  <a:pt x="668" y="336"/>
                  <a:pt x="695" y="297"/>
                  <a:pt x="703" y="261"/>
                </a:cubicBezTo>
                <a:cubicBezTo>
                  <a:pt x="714" y="212"/>
                  <a:pt x="705" y="162"/>
                  <a:pt x="681" y="119"/>
                </a:cubicBezTo>
                <a:cubicBezTo>
                  <a:pt x="657" y="76"/>
                  <a:pt x="615" y="46"/>
                  <a:pt x="571" y="26"/>
                </a:cubicBezTo>
                <a:cubicBezTo>
                  <a:pt x="556" y="19"/>
                  <a:pt x="496" y="-7"/>
                  <a:pt x="479" y="0"/>
                </a:cubicBezTo>
                <a:cubicBezTo>
                  <a:pt x="465" y="6"/>
                  <a:pt x="469" y="42"/>
                  <a:pt x="468" y="53"/>
                </a:cubicBezTo>
              </a:path>
              <a:path w="1297" h="1360" extrusionOk="0">
                <a:moveTo>
                  <a:pt x="370" y="375"/>
                </a:moveTo>
                <a:cubicBezTo>
                  <a:pt x="393" y="354"/>
                  <a:pt x="415" y="334"/>
                  <a:pt x="438" y="314"/>
                </a:cubicBezTo>
                <a:cubicBezTo>
                  <a:pt x="414" y="326"/>
                  <a:pt x="391" y="340"/>
                  <a:pt x="365" y="347"/>
                </a:cubicBezTo>
                <a:cubicBezTo>
                  <a:pt x="259" y="376"/>
                  <a:pt x="147" y="387"/>
                  <a:pt x="40" y="412"/>
                </a:cubicBezTo>
                <a:cubicBezTo>
                  <a:pt x="34" y="414"/>
                  <a:pt x="27" y="415"/>
                  <a:pt x="21" y="417"/>
                </a:cubicBezTo>
                <a:cubicBezTo>
                  <a:pt x="50" y="427"/>
                  <a:pt x="37" y="421"/>
                  <a:pt x="63" y="437"/>
                </a:cubicBezTo>
                <a:cubicBezTo>
                  <a:pt x="92" y="455"/>
                  <a:pt x="115" y="476"/>
                  <a:pt x="146" y="490"/>
                </a:cubicBezTo>
                <a:cubicBezTo>
                  <a:pt x="222" y="525"/>
                  <a:pt x="306" y="535"/>
                  <a:pt x="386" y="558"/>
                </a:cubicBezTo>
                <a:cubicBezTo>
                  <a:pt x="420" y="568"/>
                  <a:pt x="427" y="580"/>
                  <a:pt x="451" y="601"/>
                </a:cubicBezTo>
                <a:cubicBezTo>
                  <a:pt x="429" y="612"/>
                  <a:pt x="420" y="606"/>
                  <a:pt x="403" y="623"/>
                </a:cubicBezTo>
                <a:cubicBezTo>
                  <a:pt x="376" y="651"/>
                  <a:pt x="355" y="710"/>
                  <a:pt x="335" y="743"/>
                </a:cubicBezTo>
                <a:cubicBezTo>
                  <a:pt x="241" y="896"/>
                  <a:pt x="145" y="1058"/>
                  <a:pt x="91" y="1230"/>
                </a:cubicBezTo>
                <a:cubicBezTo>
                  <a:pt x="79" y="1270"/>
                  <a:pt x="76" y="1308"/>
                  <a:pt x="73" y="1349"/>
                </a:cubicBezTo>
                <a:cubicBezTo>
                  <a:pt x="94" y="1339"/>
                  <a:pt x="95" y="1343"/>
                  <a:pt x="120" y="1311"/>
                </a:cubicBezTo>
                <a:cubicBezTo>
                  <a:pt x="159" y="1260"/>
                  <a:pt x="198" y="1212"/>
                  <a:pt x="245" y="1168"/>
                </a:cubicBezTo>
                <a:cubicBezTo>
                  <a:pt x="297" y="1120"/>
                  <a:pt x="377" y="1047"/>
                  <a:pt x="456" y="1070"/>
                </a:cubicBezTo>
                <a:cubicBezTo>
                  <a:pt x="511" y="1086"/>
                  <a:pt x="546" y="1154"/>
                  <a:pt x="593" y="1186"/>
                </a:cubicBezTo>
                <a:cubicBezTo>
                  <a:pt x="616" y="1201"/>
                  <a:pt x="640" y="1209"/>
                  <a:pt x="664" y="1220"/>
                </a:cubicBezTo>
                <a:cubicBezTo>
                  <a:pt x="669" y="1223"/>
                  <a:pt x="674" y="1225"/>
                  <a:pt x="679" y="1228"/>
                </a:cubicBezTo>
                <a:cubicBezTo>
                  <a:pt x="687" y="1138"/>
                  <a:pt x="687" y="1047"/>
                  <a:pt x="688" y="957"/>
                </a:cubicBezTo>
                <a:cubicBezTo>
                  <a:pt x="689" y="824"/>
                  <a:pt x="695" y="690"/>
                  <a:pt x="696" y="557"/>
                </a:cubicBezTo>
                <a:cubicBezTo>
                  <a:pt x="697" y="467"/>
                  <a:pt x="697" y="376"/>
                  <a:pt x="679" y="287"/>
                </a:cubicBezTo>
                <a:cubicBezTo>
                  <a:pt x="670" y="243"/>
                  <a:pt x="661" y="252"/>
                  <a:pt x="636" y="224"/>
                </a:cubicBezTo>
                <a:cubicBezTo>
                  <a:pt x="639" y="237"/>
                  <a:pt x="651" y="264"/>
                  <a:pt x="681" y="296"/>
                </a:cubicBezTo>
              </a:path>
              <a:path w="1297" h="1360" extrusionOk="0">
                <a:moveTo>
                  <a:pt x="1011" y="134"/>
                </a:moveTo>
                <a:cubicBezTo>
                  <a:pt x="1009" y="117"/>
                  <a:pt x="1007" y="110"/>
                  <a:pt x="991" y="108"/>
                </a:cubicBezTo>
                <a:cubicBezTo>
                  <a:pt x="969" y="126"/>
                  <a:pt x="948" y="143"/>
                  <a:pt x="946" y="174"/>
                </a:cubicBezTo>
                <a:cubicBezTo>
                  <a:pt x="944" y="209"/>
                  <a:pt x="967" y="229"/>
                  <a:pt x="993" y="249"/>
                </a:cubicBezTo>
                <a:cubicBezTo>
                  <a:pt x="1013" y="264"/>
                  <a:pt x="1038" y="272"/>
                  <a:pt x="1063" y="277"/>
                </a:cubicBezTo>
                <a:cubicBezTo>
                  <a:pt x="1102" y="285"/>
                  <a:pt x="1115" y="263"/>
                  <a:pt x="1131" y="231"/>
                </a:cubicBezTo>
                <a:cubicBezTo>
                  <a:pt x="1144" y="204"/>
                  <a:pt x="1149" y="167"/>
                  <a:pt x="1146" y="138"/>
                </a:cubicBezTo>
                <a:cubicBezTo>
                  <a:pt x="1143" y="106"/>
                  <a:pt x="1131" y="75"/>
                  <a:pt x="1104" y="56"/>
                </a:cubicBezTo>
                <a:cubicBezTo>
                  <a:pt x="1083" y="41"/>
                  <a:pt x="1061" y="42"/>
                  <a:pt x="1038" y="50"/>
                </a:cubicBezTo>
                <a:cubicBezTo>
                  <a:pt x="1010" y="60"/>
                  <a:pt x="1015" y="86"/>
                  <a:pt x="1011" y="111"/>
                </a:cubicBezTo>
              </a:path>
              <a:path w="1297" h="1360" extrusionOk="0">
                <a:moveTo>
                  <a:pt x="1108" y="404"/>
                </a:moveTo>
                <a:cubicBezTo>
                  <a:pt x="1111" y="407"/>
                  <a:pt x="1136" y="451"/>
                  <a:pt x="1149" y="485"/>
                </a:cubicBezTo>
                <a:cubicBezTo>
                  <a:pt x="1173" y="548"/>
                  <a:pt x="1196" y="610"/>
                  <a:pt x="1213" y="675"/>
                </a:cubicBezTo>
                <a:cubicBezTo>
                  <a:pt x="1235" y="761"/>
                  <a:pt x="1248" y="849"/>
                  <a:pt x="1258" y="937"/>
                </a:cubicBezTo>
                <a:cubicBezTo>
                  <a:pt x="1270" y="1046"/>
                  <a:pt x="1268" y="1157"/>
                  <a:pt x="1288" y="1265"/>
                </a:cubicBezTo>
                <a:cubicBezTo>
                  <a:pt x="1293" y="1231"/>
                  <a:pt x="1297" y="1219"/>
                  <a:pt x="1278" y="1185"/>
                </a:cubicBezTo>
                <a:cubicBezTo>
                  <a:pt x="1264" y="1160"/>
                  <a:pt x="1248" y="1138"/>
                  <a:pt x="1228" y="1117"/>
                </a:cubicBezTo>
                <a:cubicBezTo>
                  <a:pt x="1195" y="1082"/>
                  <a:pt x="1146" y="1053"/>
                  <a:pt x="1098" y="1043"/>
                </a:cubicBezTo>
                <a:cubicBezTo>
                  <a:pt x="1057" y="1034"/>
                  <a:pt x="1017" y="1041"/>
                  <a:pt x="979" y="1053"/>
                </a:cubicBezTo>
                <a:cubicBezTo>
                  <a:pt x="949" y="1063"/>
                  <a:pt x="917" y="1072"/>
                  <a:pt x="888" y="1085"/>
                </a:cubicBezTo>
                <a:cubicBezTo>
                  <a:pt x="825" y="1112"/>
                  <a:pt x="761" y="1154"/>
                  <a:pt x="714" y="1203"/>
                </a:cubicBezTo>
                <a:cubicBezTo>
                  <a:pt x="707" y="1211"/>
                  <a:pt x="700" y="1218"/>
                  <a:pt x="693" y="1226"/>
                </a:cubicBezTo>
                <a:cubicBezTo>
                  <a:pt x="714" y="1211"/>
                  <a:pt x="703" y="1219"/>
                  <a:pt x="713" y="1195"/>
                </a:cubicBezTo>
                <a:cubicBezTo>
                  <a:pt x="723" y="1171"/>
                  <a:pt x="726" y="1148"/>
                  <a:pt x="729" y="1123"/>
                </a:cubicBezTo>
                <a:cubicBezTo>
                  <a:pt x="744" y="1003"/>
                  <a:pt x="745" y="881"/>
                  <a:pt x="764" y="761"/>
                </a:cubicBezTo>
                <a:cubicBezTo>
                  <a:pt x="777" y="682"/>
                  <a:pt x="788" y="591"/>
                  <a:pt x="819" y="517"/>
                </a:cubicBezTo>
                <a:cubicBezTo>
                  <a:pt x="834" y="481"/>
                  <a:pt x="840" y="474"/>
                  <a:pt x="853" y="513"/>
                </a:cubicBezTo>
                <a:cubicBezTo>
                  <a:pt x="853" y="524"/>
                  <a:pt x="854" y="534"/>
                  <a:pt x="854" y="545"/>
                </a:cubicBezTo>
              </a:path>
            </a:pathLst>
          </a:custGeom>
          <a:noFill/>
          <a:ln w="19050" cap="rnd">
            <a:solidFill>
              <a:schemeClr val="tx1"/>
            </a:solidFill>
            <a:round/>
            <a:headEnd/>
            <a:tailEnd/>
          </a:ln>
        </p:spPr>
        <p:txBody>
          <a:bodyPr>
            <a:prstTxWarp prst="textNoShape">
              <a:avLst/>
            </a:prstTxWarp>
          </a:bodyPr>
          <a:lstStyle/>
          <a:p>
            <a:endParaRPr lang="en-US"/>
          </a:p>
        </p:txBody>
      </p:sp>
      <p:sp>
        <p:nvSpPr>
          <p:cNvPr id="43030" name="Oval 38"/>
          <p:cNvSpPr>
            <a:spLocks noChangeArrowheads="1"/>
          </p:cNvSpPr>
          <p:nvPr/>
        </p:nvSpPr>
        <p:spPr bwMode="auto">
          <a:xfrm>
            <a:off x="781050" y="3692525"/>
            <a:ext cx="349250" cy="363538"/>
          </a:xfrm>
          <a:prstGeom prst="ellipse">
            <a:avLst/>
          </a:prstGeom>
          <a:solidFill>
            <a:srgbClr val="73E44F"/>
          </a:solidFill>
          <a:ln w="9525">
            <a:solidFill>
              <a:schemeClr val="tx1"/>
            </a:solidFill>
            <a:round/>
            <a:headEnd/>
            <a:tailEnd/>
          </a:ln>
        </p:spPr>
        <p:txBody>
          <a:bodyPr wrap="none" anchor="ctr">
            <a:prstTxWarp prst="textNoShape">
              <a:avLst/>
            </a:prstTxWarp>
          </a:bodyPr>
          <a:lstStyle/>
          <a:p>
            <a:endParaRPr lang="en-US"/>
          </a:p>
        </p:txBody>
      </p:sp>
      <p:sp>
        <p:nvSpPr>
          <p:cNvPr id="43031" name="Oval 39"/>
          <p:cNvSpPr>
            <a:spLocks noChangeArrowheads="1"/>
          </p:cNvSpPr>
          <p:nvPr/>
        </p:nvSpPr>
        <p:spPr bwMode="auto">
          <a:xfrm>
            <a:off x="1052513" y="3759200"/>
            <a:ext cx="349250" cy="363538"/>
          </a:xfrm>
          <a:prstGeom prst="ellipse">
            <a:avLst/>
          </a:prstGeom>
          <a:solidFill>
            <a:srgbClr val="73E44F"/>
          </a:solidFill>
          <a:ln w="9525">
            <a:solidFill>
              <a:schemeClr val="tx1"/>
            </a:solidFill>
            <a:round/>
            <a:headEnd/>
            <a:tailEnd/>
          </a:ln>
        </p:spPr>
        <p:txBody>
          <a:bodyPr wrap="none" anchor="ctr">
            <a:prstTxWarp prst="textNoShape">
              <a:avLst/>
            </a:prstTxWarp>
          </a:bodyPr>
          <a:lstStyle/>
          <a:p>
            <a:endParaRPr lang="en-US"/>
          </a:p>
        </p:txBody>
      </p:sp>
      <p:sp>
        <p:nvSpPr>
          <p:cNvPr id="43032" name="Oval 40"/>
          <p:cNvSpPr>
            <a:spLocks noChangeArrowheads="1"/>
          </p:cNvSpPr>
          <p:nvPr/>
        </p:nvSpPr>
        <p:spPr bwMode="auto">
          <a:xfrm>
            <a:off x="836613" y="4705350"/>
            <a:ext cx="349250" cy="363538"/>
          </a:xfrm>
          <a:prstGeom prst="ellipse">
            <a:avLst/>
          </a:prstGeom>
          <a:solidFill>
            <a:srgbClr val="FFFF00"/>
          </a:solidFill>
          <a:ln w="9525">
            <a:solidFill>
              <a:schemeClr val="tx1"/>
            </a:solidFill>
            <a:round/>
            <a:headEnd/>
            <a:tailEnd/>
          </a:ln>
        </p:spPr>
        <p:txBody>
          <a:bodyPr wrap="none" anchor="ctr">
            <a:prstTxWarp prst="textNoShape">
              <a:avLst/>
            </a:prstTxWarp>
          </a:bodyPr>
          <a:lstStyle/>
          <a:p>
            <a:endParaRPr lang="en-US"/>
          </a:p>
        </p:txBody>
      </p:sp>
      <p:sp>
        <p:nvSpPr>
          <p:cNvPr id="43033" name="Oval 41"/>
          <p:cNvSpPr>
            <a:spLocks noChangeArrowheads="1"/>
          </p:cNvSpPr>
          <p:nvPr/>
        </p:nvSpPr>
        <p:spPr bwMode="auto">
          <a:xfrm>
            <a:off x="1079500" y="4568825"/>
            <a:ext cx="349250" cy="363538"/>
          </a:xfrm>
          <a:prstGeom prst="ellipse">
            <a:avLst/>
          </a:prstGeom>
          <a:solidFill>
            <a:srgbClr val="FFFF00"/>
          </a:solidFill>
          <a:ln w="9525">
            <a:solidFill>
              <a:schemeClr val="tx1"/>
            </a:solidFill>
            <a:round/>
            <a:headEnd/>
            <a:tailEnd/>
          </a:ln>
        </p:spPr>
        <p:txBody>
          <a:bodyPr wrap="none" anchor="ctr">
            <a:prstTxWarp prst="textNoShape">
              <a:avLst/>
            </a:prstTxWarp>
          </a:bodyPr>
          <a:lstStyle/>
          <a:p>
            <a:endParaRPr lang="en-US"/>
          </a:p>
        </p:txBody>
      </p:sp>
      <p:sp>
        <p:nvSpPr>
          <p:cNvPr id="43034" name="Oval 42"/>
          <p:cNvSpPr>
            <a:spLocks noChangeArrowheads="1"/>
          </p:cNvSpPr>
          <p:nvPr/>
        </p:nvSpPr>
        <p:spPr bwMode="auto">
          <a:xfrm>
            <a:off x="793750" y="5648325"/>
            <a:ext cx="349250" cy="363538"/>
          </a:xfrm>
          <a:prstGeom prst="ellipse">
            <a:avLst/>
          </a:prstGeom>
          <a:gradFill rotWithShape="1">
            <a:gsLst>
              <a:gs pos="0">
                <a:srgbClr val="3366FF"/>
              </a:gs>
              <a:gs pos="100000">
                <a:srgbClr val="182F76"/>
              </a:gs>
            </a:gsLst>
            <a:lin ang="0" scaled="1"/>
          </a:gradFill>
          <a:ln w="9525">
            <a:solidFill>
              <a:schemeClr val="tx1"/>
            </a:solidFill>
            <a:round/>
            <a:headEnd/>
            <a:tailEnd/>
          </a:ln>
        </p:spPr>
        <p:txBody>
          <a:bodyPr wrap="none" anchor="ctr">
            <a:prstTxWarp prst="textNoShape">
              <a:avLst/>
            </a:prstTxWarp>
          </a:bodyPr>
          <a:lstStyle/>
          <a:p>
            <a:endParaRPr lang="en-US"/>
          </a:p>
        </p:txBody>
      </p:sp>
      <p:sp>
        <p:nvSpPr>
          <p:cNvPr id="43035" name="Oval 43"/>
          <p:cNvSpPr>
            <a:spLocks noChangeArrowheads="1"/>
          </p:cNvSpPr>
          <p:nvPr/>
        </p:nvSpPr>
        <p:spPr bwMode="auto">
          <a:xfrm>
            <a:off x="1098550" y="5497513"/>
            <a:ext cx="349250" cy="363537"/>
          </a:xfrm>
          <a:prstGeom prst="ellipse">
            <a:avLst/>
          </a:prstGeom>
          <a:gradFill rotWithShape="1">
            <a:gsLst>
              <a:gs pos="0">
                <a:srgbClr val="3366FF"/>
              </a:gs>
              <a:gs pos="100000">
                <a:srgbClr val="182F76"/>
              </a:gs>
            </a:gsLst>
            <a:lin ang="0" scaled="1"/>
          </a:gradFill>
          <a:ln w="9525">
            <a:solidFill>
              <a:schemeClr val="tx1"/>
            </a:solidFill>
            <a:round/>
            <a:headEnd/>
            <a:tailEnd/>
          </a:ln>
        </p:spPr>
        <p:txBody>
          <a:bodyPr wrap="none" anchor="ctr">
            <a:prstTxWarp prst="textNoShape">
              <a:avLst/>
            </a:prstTxWarp>
          </a:bodyPr>
          <a:lstStyle/>
          <a:p>
            <a:endParaRPr lang="en-US"/>
          </a:p>
        </p:txBody>
      </p:sp>
      <p:sp>
        <p:nvSpPr>
          <p:cNvPr id="43036" name="Text Box 59"/>
          <p:cNvSpPr txBox="1">
            <a:spLocks noChangeArrowheads="1"/>
          </p:cNvSpPr>
          <p:nvPr/>
        </p:nvSpPr>
        <p:spPr bwMode="auto">
          <a:xfrm>
            <a:off x="1751013" y="3810000"/>
            <a:ext cx="2284412" cy="307975"/>
          </a:xfrm>
          <a:prstGeom prst="rect">
            <a:avLst/>
          </a:prstGeom>
          <a:noFill/>
          <a:ln w="9525">
            <a:noFill/>
            <a:miter lim="800000"/>
            <a:headEnd/>
            <a:tailEnd/>
          </a:ln>
        </p:spPr>
        <p:txBody>
          <a:bodyPr>
            <a:prstTxWarp prst="textNoShape">
              <a:avLst/>
            </a:prstTxWarp>
            <a:spAutoFit/>
          </a:bodyPr>
          <a:lstStyle/>
          <a:p>
            <a:r>
              <a:rPr lang="en-US" sz="1400" b="1">
                <a:latin typeface="Helvetica" pitchFamily="-123" charset="0"/>
                <a:ea typeface="Helvetica" pitchFamily="-123" charset="0"/>
                <a:cs typeface="Helvetica" pitchFamily="-123" charset="0"/>
              </a:rPr>
              <a:t>“Most likely to succeed”</a:t>
            </a:r>
          </a:p>
        </p:txBody>
      </p:sp>
      <p:sp>
        <p:nvSpPr>
          <p:cNvPr id="43037" name="Text Box 60"/>
          <p:cNvSpPr txBox="1">
            <a:spLocks noChangeArrowheads="1"/>
          </p:cNvSpPr>
          <p:nvPr/>
        </p:nvSpPr>
        <p:spPr bwMode="auto">
          <a:xfrm>
            <a:off x="4548188" y="3810000"/>
            <a:ext cx="4041775" cy="738188"/>
          </a:xfrm>
          <a:prstGeom prst="rect">
            <a:avLst/>
          </a:prstGeom>
          <a:noFill/>
          <a:ln w="9525">
            <a:noFill/>
            <a:miter lim="800000"/>
            <a:headEnd/>
            <a:tailEnd/>
          </a:ln>
        </p:spPr>
        <p:txBody>
          <a:bodyPr>
            <a:prstTxWarp prst="textNoShape">
              <a:avLst/>
            </a:prstTxWarp>
            <a:spAutoFit/>
          </a:bodyPr>
          <a:lstStyle/>
          <a:p>
            <a:r>
              <a:rPr lang="en-US" sz="1400">
                <a:latin typeface="Helvetica" pitchFamily="-123" charset="0"/>
                <a:ea typeface="Helvetica" pitchFamily="-123" charset="0"/>
                <a:cs typeface="Helvetica" pitchFamily="-123" charset="0"/>
              </a:rPr>
              <a:t>Place two votes on the ideas that you think are most likely to successfully address your “how might we”</a:t>
            </a:r>
          </a:p>
        </p:txBody>
      </p:sp>
      <p:sp>
        <p:nvSpPr>
          <p:cNvPr id="43038" name="Text Box 61"/>
          <p:cNvSpPr txBox="1">
            <a:spLocks noChangeArrowheads="1"/>
          </p:cNvSpPr>
          <p:nvPr/>
        </p:nvSpPr>
        <p:spPr bwMode="auto">
          <a:xfrm>
            <a:off x="1751013" y="4691063"/>
            <a:ext cx="2284412" cy="307975"/>
          </a:xfrm>
          <a:prstGeom prst="rect">
            <a:avLst/>
          </a:prstGeom>
          <a:noFill/>
          <a:ln w="9525">
            <a:noFill/>
            <a:miter lim="800000"/>
            <a:headEnd/>
            <a:tailEnd/>
          </a:ln>
        </p:spPr>
        <p:txBody>
          <a:bodyPr>
            <a:prstTxWarp prst="textNoShape">
              <a:avLst/>
            </a:prstTxWarp>
            <a:spAutoFit/>
          </a:bodyPr>
          <a:lstStyle/>
          <a:p>
            <a:r>
              <a:rPr lang="en-US" sz="1400" b="1">
                <a:latin typeface="Helvetica" pitchFamily="-123" charset="0"/>
                <a:ea typeface="Helvetica" pitchFamily="-123" charset="0"/>
                <a:cs typeface="Helvetica" pitchFamily="-123" charset="0"/>
              </a:rPr>
              <a:t>“Most likely to delight”</a:t>
            </a:r>
          </a:p>
        </p:txBody>
      </p:sp>
      <p:sp>
        <p:nvSpPr>
          <p:cNvPr id="43039" name="Text Box 62"/>
          <p:cNvSpPr txBox="1">
            <a:spLocks noChangeArrowheads="1"/>
          </p:cNvSpPr>
          <p:nvPr/>
        </p:nvSpPr>
        <p:spPr bwMode="auto">
          <a:xfrm>
            <a:off x="4548188" y="4691063"/>
            <a:ext cx="3779837" cy="738187"/>
          </a:xfrm>
          <a:prstGeom prst="rect">
            <a:avLst/>
          </a:prstGeom>
          <a:noFill/>
          <a:ln w="9525">
            <a:noFill/>
            <a:miter lim="800000"/>
            <a:headEnd/>
            <a:tailEnd/>
          </a:ln>
        </p:spPr>
        <p:txBody>
          <a:bodyPr>
            <a:prstTxWarp prst="textNoShape">
              <a:avLst/>
            </a:prstTxWarp>
            <a:spAutoFit/>
          </a:bodyPr>
          <a:lstStyle/>
          <a:p>
            <a:r>
              <a:rPr lang="en-US" sz="1400">
                <a:latin typeface="Helvetica" pitchFamily="-123" charset="0"/>
                <a:ea typeface="Helvetica" pitchFamily="-123" charset="0"/>
                <a:cs typeface="Helvetica" pitchFamily="-123" charset="0"/>
              </a:rPr>
              <a:t>Place two votes on the ideas that you think would delight customers (without regard for practical constraints)</a:t>
            </a:r>
          </a:p>
        </p:txBody>
      </p:sp>
      <p:sp>
        <p:nvSpPr>
          <p:cNvPr id="43040" name="Text Box 63"/>
          <p:cNvSpPr txBox="1">
            <a:spLocks noChangeArrowheads="1"/>
          </p:cNvSpPr>
          <p:nvPr/>
        </p:nvSpPr>
        <p:spPr bwMode="auto">
          <a:xfrm>
            <a:off x="1751013" y="5572125"/>
            <a:ext cx="2574925" cy="307975"/>
          </a:xfrm>
          <a:prstGeom prst="rect">
            <a:avLst/>
          </a:prstGeom>
          <a:noFill/>
          <a:ln w="9525">
            <a:noFill/>
            <a:miter lim="800000"/>
            <a:headEnd/>
            <a:tailEnd/>
          </a:ln>
        </p:spPr>
        <p:txBody>
          <a:bodyPr>
            <a:prstTxWarp prst="textNoShape">
              <a:avLst/>
            </a:prstTxWarp>
            <a:spAutoFit/>
          </a:bodyPr>
          <a:lstStyle/>
          <a:p>
            <a:r>
              <a:rPr lang="en-US" sz="1400" b="1">
                <a:latin typeface="Helvetica" pitchFamily="-123" charset="0"/>
                <a:ea typeface="Helvetica" pitchFamily="-123" charset="0"/>
                <a:cs typeface="Helvetica" pitchFamily="-123" charset="0"/>
              </a:rPr>
              <a:t>“Most breakthrough if …”</a:t>
            </a:r>
          </a:p>
        </p:txBody>
      </p:sp>
      <p:sp>
        <p:nvSpPr>
          <p:cNvPr id="43041" name="Text Box 64"/>
          <p:cNvSpPr txBox="1">
            <a:spLocks noChangeArrowheads="1"/>
          </p:cNvSpPr>
          <p:nvPr/>
        </p:nvSpPr>
        <p:spPr bwMode="auto">
          <a:xfrm>
            <a:off x="4548188" y="5572125"/>
            <a:ext cx="3779837" cy="738188"/>
          </a:xfrm>
          <a:prstGeom prst="rect">
            <a:avLst/>
          </a:prstGeom>
          <a:noFill/>
          <a:ln w="9525">
            <a:noFill/>
            <a:miter lim="800000"/>
            <a:headEnd/>
            <a:tailEnd/>
          </a:ln>
        </p:spPr>
        <p:txBody>
          <a:bodyPr>
            <a:prstTxWarp prst="textNoShape">
              <a:avLst/>
            </a:prstTxWarp>
            <a:spAutoFit/>
          </a:bodyPr>
          <a:lstStyle/>
          <a:p>
            <a:r>
              <a:rPr lang="en-US" sz="1400">
                <a:latin typeface="Helvetica" pitchFamily="-123" charset="0"/>
                <a:ea typeface="Helvetica" pitchFamily="-123" charset="0"/>
                <a:cs typeface="Helvetica" pitchFamily="-123" charset="0"/>
              </a:rPr>
              <a:t>Place two votes on the most breakthrough ideas (if a fatal flaw or real world constraint were to be ignored)</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4337" name="Picture 3"/>
          <p:cNvPicPr>
            <a:picLocks noChangeAspect="1"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406400" y="2736850"/>
            <a:ext cx="8331200" cy="13843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6385" name="Picture 4"/>
          <p:cNvPicPr>
            <a:picLocks noChangeAspect="1" noChangeArrowheads="1"/>
          </p:cNvPicPr>
          <p:nvPr/>
        </p:nvPicPr>
        <mc:AlternateContent>
          <mc:Choice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406400" y="2730500"/>
            <a:ext cx="8331200" cy="1397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8433" name="Picture 6"/>
          <p:cNvPicPr>
            <a:picLocks noChangeAspect="1" noChangeArrowheads="1"/>
          </p:cNvPicPr>
          <p:nvPr/>
        </p:nvPicPr>
        <p:blipFill>
          <a:blip r:embed="rId3"/>
          <a:srcRect l="1602" r="2271"/>
          <a:stretch>
            <a:fillRect/>
          </a:stretch>
        </p:blipFill>
        <p:spPr bwMode="auto">
          <a:xfrm>
            <a:off x="0" y="349250"/>
            <a:ext cx="9144000" cy="5441950"/>
          </a:xfrm>
          <a:prstGeom prst="rect">
            <a:avLst/>
          </a:prstGeom>
          <a:noFill/>
          <a:ln w="12700">
            <a:noFill/>
            <a:miter lim="800000"/>
            <a:headEnd/>
            <a:tailEnd/>
          </a:ln>
        </p:spPr>
      </p:pic>
      <p:pic>
        <p:nvPicPr>
          <p:cNvPr id="18434" name="Picture 5" descr="ideate bubble.jpg"/>
          <p:cNvPicPr>
            <a:picLocks noChangeAspect="1"/>
          </p:cNvPicPr>
          <p:nvPr/>
        </p:nvPicPr>
        <p:blipFill>
          <a:blip r:embed="rId4">
            <a:clrChange>
              <a:clrFrom>
                <a:srgbClr val="FFFFFF"/>
              </a:clrFrom>
              <a:clrTo>
                <a:srgbClr val="FFFFFF">
                  <a:alpha val="0"/>
                </a:srgbClr>
              </a:clrTo>
            </a:clrChange>
          </a:blip>
          <a:srcRect/>
          <a:stretch>
            <a:fillRect/>
          </a:stretch>
        </p:blipFill>
        <p:spPr bwMode="auto">
          <a:xfrm>
            <a:off x="3886200" y="3187700"/>
            <a:ext cx="1160463" cy="1155700"/>
          </a:xfrm>
          <a:prstGeom prst="rect">
            <a:avLst/>
          </a:prstGeom>
          <a:noFill/>
          <a:ln w="9525">
            <a:noFill/>
            <a:miter lim="800000"/>
            <a:headEnd/>
            <a:tailEnd/>
          </a:ln>
        </p:spPr>
      </p:pic>
      <p:sp>
        <p:nvSpPr>
          <p:cNvPr id="4" name="Rectangle 11"/>
          <p:cNvSpPr>
            <a:spLocks noChangeArrowheads="1"/>
          </p:cNvSpPr>
          <p:nvPr/>
        </p:nvSpPr>
        <p:spPr bwMode="auto">
          <a:xfrm>
            <a:off x="144463" y="382588"/>
            <a:ext cx="8618537" cy="609600"/>
          </a:xfrm>
          <a:prstGeom prst="rect">
            <a:avLst/>
          </a:prstGeom>
          <a:noFill/>
          <a:ln w="9525">
            <a:noFill/>
            <a:miter lim="800000"/>
            <a:headEnd/>
            <a:tailEnd/>
          </a:ln>
        </p:spPr>
        <p:txBody>
          <a:bodyPr lIns="0" tIns="0" rIns="0" bIns="0">
            <a:prstTxWarp prst="textNoShape">
              <a:avLst/>
            </a:prstTxWarp>
            <a:spAutoFit/>
          </a:bodyPr>
          <a:lstStyle/>
          <a:p>
            <a:pPr defTabSz="895350"/>
            <a:r>
              <a:rPr lang="en-US" sz="4000" dirty="0" smtClean="0">
                <a:solidFill>
                  <a:srgbClr val="FF0000"/>
                </a:solidFill>
                <a:latin typeface="Helvetica" pitchFamily="-123" charset="0"/>
                <a:ea typeface="Helvetica" pitchFamily="-123" charset="0"/>
                <a:cs typeface="Helvetica" pitchFamily="-123" charset="0"/>
              </a:rPr>
              <a:t>brainstorming</a:t>
            </a:r>
            <a:endParaRPr lang="en-US" sz="4000" b="1" dirty="0">
              <a:solidFill>
                <a:srgbClr val="FF0000"/>
              </a:solidFill>
              <a:latin typeface="Helvetica" pitchFamily="-123" charset="0"/>
              <a:ea typeface="Helvetica" pitchFamily="-123" charset="0"/>
              <a:cs typeface="Helvetica" pitchFamily="-123" charset="0"/>
            </a:endParaRPr>
          </a:p>
        </p:txBody>
      </p:sp>
      <p:sp>
        <p:nvSpPr>
          <p:cNvPr id="5" name="Explosion 1 4"/>
          <p:cNvSpPr/>
          <p:nvPr/>
        </p:nvSpPr>
        <p:spPr>
          <a:xfrm>
            <a:off x="5400416" y="3248545"/>
            <a:ext cx="176877" cy="248230"/>
          </a:xfrm>
          <a:prstGeom prst="irregularSeal1">
            <a:avLst/>
          </a:prstGeom>
          <a:solidFill>
            <a:srgbClr val="FFFF00"/>
          </a:solidFill>
          <a:ln>
            <a:solidFill>
              <a:srgbClr val="FFFF00"/>
            </a:solidFill>
          </a:ln>
        </p:spPr>
        <p:style>
          <a:lnRef idx="1">
            <a:schemeClr val="accent1"/>
          </a:lnRef>
          <a:fillRef idx="3">
            <a:schemeClr val="accent1"/>
          </a:fillRef>
          <a:effectRef idx="2">
            <a:schemeClr val="accent1"/>
          </a:effectRef>
          <a:fontRef idx="minor">
            <a:schemeClr val="lt1"/>
          </a:fontRef>
        </p:style>
      </p:sp>
      <p:sp>
        <p:nvSpPr>
          <p:cNvPr id="6" name="Explosion 1 5"/>
          <p:cNvSpPr/>
          <p:nvPr/>
        </p:nvSpPr>
        <p:spPr>
          <a:xfrm>
            <a:off x="5056822" y="4062500"/>
            <a:ext cx="201353" cy="194195"/>
          </a:xfrm>
          <a:prstGeom prst="irregularSeal1">
            <a:avLst/>
          </a:prstGeom>
          <a:solidFill>
            <a:srgbClr val="FFFF00"/>
          </a:solidFill>
          <a:ln>
            <a:solidFill>
              <a:srgbClr val="FFFF00"/>
            </a:solidFill>
          </a:ln>
        </p:spPr>
        <p:style>
          <a:lnRef idx="1">
            <a:schemeClr val="accent1"/>
          </a:lnRef>
          <a:fillRef idx="3">
            <a:schemeClr val="accent1"/>
          </a:fillRef>
          <a:effectRef idx="2">
            <a:schemeClr val="accent1"/>
          </a:effectRef>
          <a:fontRef idx="minor">
            <a:schemeClr val="lt1"/>
          </a:fontRef>
        </p:style>
      </p:sp>
      <p:sp>
        <p:nvSpPr>
          <p:cNvPr id="7" name="Explosion 1 6"/>
          <p:cNvSpPr/>
          <p:nvPr/>
        </p:nvSpPr>
        <p:spPr>
          <a:xfrm>
            <a:off x="5299739" y="2033271"/>
            <a:ext cx="353753" cy="388389"/>
          </a:xfrm>
          <a:prstGeom prst="irregularSeal1">
            <a:avLst/>
          </a:prstGeom>
          <a:solidFill>
            <a:srgbClr val="FFFF00"/>
          </a:solidFill>
          <a:ln>
            <a:solidFill>
              <a:srgbClr val="FFFF00"/>
            </a:solidFill>
          </a:ln>
        </p:spPr>
        <p:style>
          <a:lnRef idx="1">
            <a:schemeClr val="accent1"/>
          </a:lnRef>
          <a:fillRef idx="3">
            <a:schemeClr val="accent1"/>
          </a:fillRef>
          <a:effectRef idx="2">
            <a:schemeClr val="accent1"/>
          </a:effectRef>
          <a:fontRef idx="minor">
            <a:schemeClr val="lt1"/>
          </a:fontRef>
        </p:style>
      </p:sp>
      <p:sp>
        <p:nvSpPr>
          <p:cNvPr id="8" name="Explosion 1 7"/>
          <p:cNvSpPr/>
          <p:nvPr/>
        </p:nvSpPr>
        <p:spPr>
          <a:xfrm>
            <a:off x="5258175" y="4917556"/>
            <a:ext cx="353753" cy="388389"/>
          </a:xfrm>
          <a:prstGeom prst="irregularSeal1">
            <a:avLst/>
          </a:prstGeom>
          <a:solidFill>
            <a:srgbClr val="FFFF00"/>
          </a:solidFill>
          <a:ln>
            <a:solidFill>
              <a:srgbClr val="FFFF00"/>
            </a:solidFill>
          </a:ln>
        </p:spPr>
        <p:style>
          <a:lnRef idx="1">
            <a:schemeClr val="accent1"/>
          </a:lnRef>
          <a:fillRef idx="3">
            <a:schemeClr val="accent1"/>
          </a:fillRef>
          <a:effectRef idx="2">
            <a:schemeClr val="accent1"/>
          </a:effectRef>
          <a:fontRef idx="minor">
            <a:schemeClr val="lt1"/>
          </a:fontRef>
        </p:style>
      </p:sp>
      <p:sp>
        <p:nvSpPr>
          <p:cNvPr id="9" name="Explosion 1 8"/>
          <p:cNvSpPr/>
          <p:nvPr/>
        </p:nvSpPr>
        <p:spPr>
          <a:xfrm>
            <a:off x="5081298" y="4353791"/>
            <a:ext cx="176877" cy="291292"/>
          </a:xfrm>
          <a:prstGeom prst="irregularSeal1">
            <a:avLst/>
          </a:prstGeom>
          <a:solidFill>
            <a:srgbClr val="FFFF00"/>
          </a:solidFill>
          <a:ln>
            <a:solidFill>
              <a:srgbClr val="FFFF00"/>
            </a:solidFill>
          </a:ln>
        </p:spPr>
        <p:style>
          <a:lnRef idx="1">
            <a:schemeClr val="accent1"/>
          </a:lnRef>
          <a:fillRef idx="3">
            <a:schemeClr val="accent1"/>
          </a:fillRef>
          <a:effectRef idx="2">
            <a:schemeClr val="accent1"/>
          </a:effectRef>
          <a:fontRef idx="minor">
            <a:schemeClr val="lt1"/>
          </a:fontRef>
        </p:style>
      </p:sp>
      <p:sp>
        <p:nvSpPr>
          <p:cNvPr id="10" name="Explosion 1 9"/>
          <p:cNvSpPr/>
          <p:nvPr/>
        </p:nvSpPr>
        <p:spPr>
          <a:xfrm>
            <a:off x="4869786" y="2421660"/>
            <a:ext cx="353753" cy="388389"/>
          </a:xfrm>
          <a:prstGeom prst="irregularSeal1">
            <a:avLst/>
          </a:prstGeom>
          <a:solidFill>
            <a:srgbClr val="FFFF00"/>
          </a:solidFill>
          <a:ln>
            <a:solidFill>
              <a:srgbClr val="FFFF00"/>
            </a:solidFill>
          </a:ln>
        </p:spPr>
        <p:style>
          <a:lnRef idx="1">
            <a:schemeClr val="accent1"/>
          </a:lnRef>
          <a:fillRef idx="3">
            <a:schemeClr val="accent1"/>
          </a:fillRef>
          <a:effectRef idx="2">
            <a:schemeClr val="accent1"/>
          </a:effectRef>
          <a:fontRef idx="minor">
            <a:schemeClr val="lt1"/>
          </a:fontRef>
        </p:style>
      </p:sp>
      <p:sp>
        <p:nvSpPr>
          <p:cNvPr id="11" name="Explosion 1 10"/>
          <p:cNvSpPr/>
          <p:nvPr/>
        </p:nvSpPr>
        <p:spPr>
          <a:xfrm>
            <a:off x="4987551" y="3124430"/>
            <a:ext cx="211512" cy="248230"/>
          </a:xfrm>
          <a:prstGeom prst="irregularSeal1">
            <a:avLst/>
          </a:prstGeom>
          <a:solidFill>
            <a:srgbClr val="FFFF00"/>
          </a:solidFill>
          <a:ln>
            <a:solidFill>
              <a:srgbClr val="FFFF00"/>
            </a:solidFill>
          </a:ln>
        </p:spPr>
        <p:style>
          <a:lnRef idx="1">
            <a:schemeClr val="accent1"/>
          </a:lnRef>
          <a:fillRef idx="3">
            <a:schemeClr val="accent1"/>
          </a:fillRef>
          <a:effectRef idx="2">
            <a:schemeClr val="accent1"/>
          </a:effectRef>
          <a:fontRef idx="minor">
            <a:schemeClr val="lt1"/>
          </a:fontRef>
        </p:style>
      </p:sp>
      <p:sp>
        <p:nvSpPr>
          <p:cNvPr id="12" name="Explosion 1 11"/>
          <p:cNvSpPr/>
          <p:nvPr/>
        </p:nvSpPr>
        <p:spPr>
          <a:xfrm>
            <a:off x="5476616" y="4159597"/>
            <a:ext cx="201353" cy="194194"/>
          </a:xfrm>
          <a:prstGeom prst="irregularSeal1">
            <a:avLst/>
          </a:prstGeom>
          <a:solidFill>
            <a:srgbClr val="FFFF00"/>
          </a:solidFill>
          <a:ln>
            <a:solidFill>
              <a:srgbClr val="FFFF00"/>
            </a:solidFill>
          </a:ln>
        </p:spPr>
        <p:style>
          <a:lnRef idx="1">
            <a:schemeClr val="accent1"/>
          </a:lnRef>
          <a:fillRef idx="3">
            <a:schemeClr val="accent1"/>
          </a:fillRef>
          <a:effectRef idx="2">
            <a:schemeClr val="accent1"/>
          </a:effectRef>
          <a:fontRef idx="minor">
            <a:schemeClr val="lt1"/>
          </a:fontRef>
        </p:style>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8434" name="Picture 5" descr="ideate bubble.jpg"/>
          <p:cNvPicPr>
            <a:picLocks noChangeAspect="1"/>
          </p:cNvPicPr>
          <p:nvPr/>
        </p:nvPicPr>
        <p:blipFill>
          <a:blip r:embed="rId3">
            <a:clrChange>
              <a:clrFrom>
                <a:srgbClr val="FFFFFF"/>
              </a:clrFrom>
              <a:clrTo>
                <a:srgbClr val="FFFFFF">
                  <a:alpha val="0"/>
                </a:srgbClr>
              </a:clrTo>
            </a:clrChange>
          </a:blip>
          <a:srcRect/>
          <a:stretch>
            <a:fillRect/>
          </a:stretch>
        </p:blipFill>
        <p:spPr bwMode="auto">
          <a:xfrm>
            <a:off x="3886200" y="3187700"/>
            <a:ext cx="1160463" cy="1155700"/>
          </a:xfrm>
          <a:prstGeom prst="rect">
            <a:avLst/>
          </a:prstGeom>
          <a:noFill/>
          <a:ln w="9525">
            <a:noFill/>
            <a:miter lim="800000"/>
            <a:headEnd/>
            <a:tailEnd/>
          </a:ln>
        </p:spPr>
      </p:pic>
      <p:sp>
        <p:nvSpPr>
          <p:cNvPr id="4" name="Rectangle 11"/>
          <p:cNvSpPr>
            <a:spLocks noChangeArrowheads="1"/>
          </p:cNvSpPr>
          <p:nvPr/>
        </p:nvSpPr>
        <p:spPr bwMode="auto">
          <a:xfrm>
            <a:off x="144463" y="382588"/>
            <a:ext cx="8618537" cy="609600"/>
          </a:xfrm>
          <a:prstGeom prst="rect">
            <a:avLst/>
          </a:prstGeom>
          <a:noFill/>
          <a:ln w="9525">
            <a:noFill/>
            <a:miter lim="800000"/>
            <a:headEnd/>
            <a:tailEnd/>
          </a:ln>
        </p:spPr>
        <p:txBody>
          <a:bodyPr lIns="0" tIns="0" rIns="0" bIns="0">
            <a:prstTxWarp prst="textNoShape">
              <a:avLst/>
            </a:prstTxWarp>
            <a:spAutoFit/>
          </a:bodyPr>
          <a:lstStyle/>
          <a:p>
            <a:pPr defTabSz="895350"/>
            <a:r>
              <a:rPr lang="en-US" sz="4000" dirty="0" smtClean="0">
                <a:solidFill>
                  <a:srgbClr val="FF0000"/>
                </a:solidFill>
                <a:latin typeface="Helvetica" pitchFamily="-123" charset="0"/>
                <a:ea typeface="Helvetica" pitchFamily="-123" charset="0"/>
                <a:cs typeface="Helvetica" pitchFamily="-123" charset="0"/>
              </a:rPr>
              <a:t>Brainstorming </a:t>
            </a:r>
            <a:r>
              <a:rPr lang="en-US" sz="4000" smtClean="0">
                <a:solidFill>
                  <a:srgbClr val="FF0000"/>
                </a:solidFill>
                <a:latin typeface="Helvetica" pitchFamily="-123" charset="0"/>
                <a:ea typeface="Helvetica" pitchFamily="-123" charset="0"/>
                <a:cs typeface="Helvetica" pitchFamily="-123" charset="0"/>
              </a:rPr>
              <a:t>in Action</a:t>
            </a:r>
            <a:endParaRPr lang="en-US" sz="4000" b="1" dirty="0">
              <a:solidFill>
                <a:srgbClr val="FF0000"/>
              </a:solidFill>
              <a:latin typeface="Helvetica" pitchFamily="-123" charset="0"/>
              <a:ea typeface="Helvetica" pitchFamily="-123" charset="0"/>
              <a:cs typeface="Helvetica" pitchFamily="-123" charset="0"/>
            </a:endParaRPr>
          </a:p>
        </p:txBody>
      </p:sp>
      <p:sp>
        <p:nvSpPr>
          <p:cNvPr id="5" name="Explosion 1 4"/>
          <p:cNvSpPr/>
          <p:nvPr/>
        </p:nvSpPr>
        <p:spPr>
          <a:xfrm>
            <a:off x="5400416" y="3248545"/>
            <a:ext cx="176877" cy="248230"/>
          </a:xfrm>
          <a:prstGeom prst="irregularSeal1">
            <a:avLst/>
          </a:prstGeom>
          <a:solidFill>
            <a:srgbClr val="FFFF00"/>
          </a:solidFill>
          <a:ln>
            <a:solidFill>
              <a:srgbClr val="FFFF00"/>
            </a:solidFill>
          </a:ln>
        </p:spPr>
        <p:style>
          <a:lnRef idx="1">
            <a:schemeClr val="accent1"/>
          </a:lnRef>
          <a:fillRef idx="3">
            <a:schemeClr val="accent1"/>
          </a:fillRef>
          <a:effectRef idx="2">
            <a:schemeClr val="accent1"/>
          </a:effectRef>
          <a:fontRef idx="minor">
            <a:schemeClr val="lt1"/>
          </a:fontRef>
        </p:style>
      </p:sp>
      <p:sp>
        <p:nvSpPr>
          <p:cNvPr id="6" name="Explosion 1 5"/>
          <p:cNvSpPr/>
          <p:nvPr/>
        </p:nvSpPr>
        <p:spPr>
          <a:xfrm>
            <a:off x="5056822" y="4062500"/>
            <a:ext cx="201353" cy="194195"/>
          </a:xfrm>
          <a:prstGeom prst="irregularSeal1">
            <a:avLst/>
          </a:prstGeom>
          <a:solidFill>
            <a:srgbClr val="FFFF00"/>
          </a:solidFill>
          <a:ln>
            <a:solidFill>
              <a:srgbClr val="FFFF00"/>
            </a:solidFill>
          </a:ln>
        </p:spPr>
        <p:style>
          <a:lnRef idx="1">
            <a:schemeClr val="accent1"/>
          </a:lnRef>
          <a:fillRef idx="3">
            <a:schemeClr val="accent1"/>
          </a:fillRef>
          <a:effectRef idx="2">
            <a:schemeClr val="accent1"/>
          </a:effectRef>
          <a:fontRef idx="minor">
            <a:schemeClr val="lt1"/>
          </a:fontRef>
        </p:style>
      </p:sp>
      <p:sp>
        <p:nvSpPr>
          <p:cNvPr id="7" name="Explosion 1 6"/>
          <p:cNvSpPr/>
          <p:nvPr/>
        </p:nvSpPr>
        <p:spPr>
          <a:xfrm>
            <a:off x="5299739" y="2033271"/>
            <a:ext cx="353753" cy="388389"/>
          </a:xfrm>
          <a:prstGeom prst="irregularSeal1">
            <a:avLst/>
          </a:prstGeom>
          <a:solidFill>
            <a:srgbClr val="FFFF00"/>
          </a:solidFill>
          <a:ln>
            <a:solidFill>
              <a:srgbClr val="FFFF00"/>
            </a:solidFill>
          </a:ln>
        </p:spPr>
        <p:style>
          <a:lnRef idx="1">
            <a:schemeClr val="accent1"/>
          </a:lnRef>
          <a:fillRef idx="3">
            <a:schemeClr val="accent1"/>
          </a:fillRef>
          <a:effectRef idx="2">
            <a:schemeClr val="accent1"/>
          </a:effectRef>
          <a:fontRef idx="minor">
            <a:schemeClr val="lt1"/>
          </a:fontRef>
        </p:style>
      </p:sp>
      <p:sp>
        <p:nvSpPr>
          <p:cNvPr id="8" name="Explosion 1 7"/>
          <p:cNvSpPr/>
          <p:nvPr/>
        </p:nvSpPr>
        <p:spPr>
          <a:xfrm>
            <a:off x="5258175" y="4917556"/>
            <a:ext cx="353753" cy="388389"/>
          </a:xfrm>
          <a:prstGeom prst="irregularSeal1">
            <a:avLst/>
          </a:prstGeom>
          <a:solidFill>
            <a:srgbClr val="FFFF00"/>
          </a:solidFill>
          <a:ln>
            <a:solidFill>
              <a:srgbClr val="FFFF00"/>
            </a:solidFill>
          </a:ln>
        </p:spPr>
        <p:style>
          <a:lnRef idx="1">
            <a:schemeClr val="accent1"/>
          </a:lnRef>
          <a:fillRef idx="3">
            <a:schemeClr val="accent1"/>
          </a:fillRef>
          <a:effectRef idx="2">
            <a:schemeClr val="accent1"/>
          </a:effectRef>
          <a:fontRef idx="minor">
            <a:schemeClr val="lt1"/>
          </a:fontRef>
        </p:style>
      </p:sp>
      <p:sp>
        <p:nvSpPr>
          <p:cNvPr id="9" name="Explosion 1 8"/>
          <p:cNvSpPr/>
          <p:nvPr/>
        </p:nvSpPr>
        <p:spPr>
          <a:xfrm>
            <a:off x="5081298" y="4353791"/>
            <a:ext cx="176877" cy="291292"/>
          </a:xfrm>
          <a:prstGeom prst="irregularSeal1">
            <a:avLst/>
          </a:prstGeom>
          <a:solidFill>
            <a:srgbClr val="FFFF00"/>
          </a:solidFill>
          <a:ln>
            <a:solidFill>
              <a:srgbClr val="FFFF00"/>
            </a:solidFill>
          </a:ln>
        </p:spPr>
        <p:style>
          <a:lnRef idx="1">
            <a:schemeClr val="accent1"/>
          </a:lnRef>
          <a:fillRef idx="3">
            <a:schemeClr val="accent1"/>
          </a:fillRef>
          <a:effectRef idx="2">
            <a:schemeClr val="accent1"/>
          </a:effectRef>
          <a:fontRef idx="minor">
            <a:schemeClr val="lt1"/>
          </a:fontRef>
        </p:style>
      </p:sp>
      <p:sp>
        <p:nvSpPr>
          <p:cNvPr id="10" name="Explosion 1 9"/>
          <p:cNvSpPr/>
          <p:nvPr/>
        </p:nvSpPr>
        <p:spPr>
          <a:xfrm>
            <a:off x="4869786" y="2421660"/>
            <a:ext cx="353753" cy="388389"/>
          </a:xfrm>
          <a:prstGeom prst="irregularSeal1">
            <a:avLst/>
          </a:prstGeom>
          <a:solidFill>
            <a:srgbClr val="FFFF00"/>
          </a:solidFill>
          <a:ln>
            <a:solidFill>
              <a:srgbClr val="FFFF00"/>
            </a:solidFill>
          </a:ln>
        </p:spPr>
        <p:style>
          <a:lnRef idx="1">
            <a:schemeClr val="accent1"/>
          </a:lnRef>
          <a:fillRef idx="3">
            <a:schemeClr val="accent1"/>
          </a:fillRef>
          <a:effectRef idx="2">
            <a:schemeClr val="accent1"/>
          </a:effectRef>
          <a:fontRef idx="minor">
            <a:schemeClr val="lt1"/>
          </a:fontRef>
        </p:style>
      </p:sp>
      <p:sp>
        <p:nvSpPr>
          <p:cNvPr id="11" name="Explosion 1 10"/>
          <p:cNvSpPr/>
          <p:nvPr/>
        </p:nvSpPr>
        <p:spPr>
          <a:xfrm>
            <a:off x="4987551" y="3124430"/>
            <a:ext cx="211512" cy="248230"/>
          </a:xfrm>
          <a:prstGeom prst="irregularSeal1">
            <a:avLst/>
          </a:prstGeom>
          <a:solidFill>
            <a:srgbClr val="FFFF00"/>
          </a:solidFill>
          <a:ln>
            <a:solidFill>
              <a:srgbClr val="FFFF00"/>
            </a:solidFill>
          </a:ln>
        </p:spPr>
        <p:style>
          <a:lnRef idx="1">
            <a:schemeClr val="accent1"/>
          </a:lnRef>
          <a:fillRef idx="3">
            <a:schemeClr val="accent1"/>
          </a:fillRef>
          <a:effectRef idx="2">
            <a:schemeClr val="accent1"/>
          </a:effectRef>
          <a:fontRef idx="minor">
            <a:schemeClr val="lt1"/>
          </a:fontRef>
        </p:style>
      </p:sp>
      <p:sp>
        <p:nvSpPr>
          <p:cNvPr id="12" name="Explosion 1 11"/>
          <p:cNvSpPr/>
          <p:nvPr/>
        </p:nvSpPr>
        <p:spPr>
          <a:xfrm>
            <a:off x="5476616" y="4159597"/>
            <a:ext cx="201353" cy="194194"/>
          </a:xfrm>
          <a:prstGeom prst="irregularSeal1">
            <a:avLst/>
          </a:prstGeom>
          <a:solidFill>
            <a:srgbClr val="FFFF00"/>
          </a:solidFill>
          <a:ln>
            <a:solidFill>
              <a:srgbClr val="FFFF00"/>
            </a:solidFill>
          </a:ln>
        </p:spPr>
        <p:style>
          <a:lnRef idx="1">
            <a:schemeClr val="accent1"/>
          </a:lnRef>
          <a:fillRef idx="3">
            <a:schemeClr val="accent1"/>
          </a:fillRef>
          <a:effectRef idx="2">
            <a:schemeClr val="accent1"/>
          </a:effectRef>
          <a:fontRef idx="minor">
            <a:schemeClr val="lt1"/>
          </a:fontRef>
        </p:style>
      </p:sp>
      <p:pic>
        <p:nvPicPr>
          <p:cNvPr id="13" name="Picture 12" descr="P9050271.JPG"/>
          <p:cNvPicPr>
            <a:picLocks noChangeAspect="1"/>
          </p:cNvPicPr>
          <p:nvPr/>
        </p:nvPicPr>
        <p:blipFill>
          <a:blip r:embed="rId4"/>
          <a:stretch>
            <a:fillRect/>
          </a:stretch>
        </p:blipFill>
        <p:spPr>
          <a:xfrm>
            <a:off x="914400" y="1240191"/>
            <a:ext cx="6553200" cy="49149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482" name="Rectangle 18"/>
          <p:cNvSpPr>
            <a:spLocks noChangeArrowheads="1"/>
          </p:cNvSpPr>
          <p:nvPr/>
        </p:nvSpPr>
        <p:spPr bwMode="auto">
          <a:xfrm>
            <a:off x="381000" y="1371600"/>
            <a:ext cx="7772400" cy="3939540"/>
          </a:xfrm>
          <a:prstGeom prst="rect">
            <a:avLst/>
          </a:prstGeom>
          <a:noFill/>
          <a:ln w="9525">
            <a:noFill/>
            <a:miter lim="800000"/>
            <a:headEnd/>
            <a:tailEnd/>
          </a:ln>
        </p:spPr>
        <p:txBody>
          <a:bodyPr wrap="square" lIns="0" tIns="0" rIns="0" bIns="0">
            <a:prstTxWarp prst="textNoShape">
              <a:avLst/>
            </a:prstTxWarp>
            <a:spAutoFit/>
          </a:bodyPr>
          <a:lstStyle/>
          <a:p>
            <a:pPr defTabSz="895350"/>
            <a:r>
              <a:rPr lang="en-US" sz="3200" dirty="0">
                <a:latin typeface="Helvetica" pitchFamily="-123" charset="0"/>
                <a:ea typeface="Helvetica" pitchFamily="-123" charset="0"/>
                <a:cs typeface="Helvetica" pitchFamily="-123" charset="0"/>
              </a:rPr>
              <a:t>generate</a:t>
            </a:r>
            <a:r>
              <a:rPr lang="en-US" sz="3200" dirty="0" smtClean="0">
                <a:latin typeface="Helvetica" pitchFamily="-123" charset="0"/>
                <a:ea typeface="Helvetica" pitchFamily="-123" charset="0"/>
                <a:cs typeface="Helvetica" pitchFamily="-123" charset="0"/>
              </a:rPr>
              <a:t> maximum innovation potential</a:t>
            </a:r>
          </a:p>
          <a:p>
            <a:pPr defTabSz="895350"/>
            <a:endParaRPr lang="en-US" sz="3200" dirty="0">
              <a:latin typeface="Helvetica" pitchFamily="-123" charset="0"/>
              <a:ea typeface="Helvetica" pitchFamily="-123" charset="0"/>
              <a:cs typeface="Helvetica" pitchFamily="-123" charset="0"/>
            </a:endParaRPr>
          </a:p>
          <a:p>
            <a:pPr defTabSz="895350"/>
            <a:r>
              <a:rPr lang="en-US" sz="3200" dirty="0">
                <a:latin typeface="Helvetica" pitchFamily="-123" charset="0"/>
                <a:ea typeface="Helvetica" pitchFamily="-123" charset="0"/>
                <a:cs typeface="Helvetica" pitchFamily="-123" charset="0"/>
              </a:rPr>
              <a:t>in a short amount of time</a:t>
            </a:r>
          </a:p>
          <a:p>
            <a:pPr defTabSz="895350"/>
            <a:endParaRPr lang="en-US" sz="3200" dirty="0">
              <a:latin typeface="Helvetica" pitchFamily="-123" charset="0"/>
              <a:ea typeface="Helvetica" pitchFamily="-123" charset="0"/>
              <a:cs typeface="Helvetica" pitchFamily="-123" charset="0"/>
            </a:endParaRPr>
          </a:p>
          <a:p>
            <a:pPr defTabSz="895350"/>
            <a:r>
              <a:rPr lang="en-US" sz="3200" dirty="0">
                <a:latin typeface="Helvetica" pitchFamily="-123" charset="0"/>
                <a:ea typeface="Helvetica" pitchFamily="-123" charset="0"/>
                <a:cs typeface="Helvetica" pitchFamily="-123" charset="0"/>
              </a:rPr>
              <a:t>incorporate different perspectives</a:t>
            </a:r>
          </a:p>
          <a:p>
            <a:pPr defTabSz="895350"/>
            <a:endParaRPr lang="en-US" sz="3200" dirty="0">
              <a:latin typeface="Helvetica" pitchFamily="-123" charset="0"/>
              <a:ea typeface="Helvetica" pitchFamily="-123" charset="0"/>
              <a:cs typeface="Helvetica" pitchFamily="-123" charset="0"/>
            </a:endParaRPr>
          </a:p>
          <a:p>
            <a:pPr defTabSz="895350"/>
            <a:r>
              <a:rPr lang="en-US" sz="3200" dirty="0">
                <a:latin typeface="Helvetica" pitchFamily="-123" charset="0"/>
                <a:ea typeface="Helvetica" pitchFamily="-123" charset="0"/>
                <a:cs typeface="Helvetica" pitchFamily="-123" charset="0"/>
              </a:rPr>
              <a:t>and build </a:t>
            </a:r>
            <a:r>
              <a:rPr lang="en-US" sz="3200" b="1" dirty="0">
                <a:latin typeface="Helvetica" pitchFamily="-123" charset="0"/>
                <a:ea typeface="Helvetica" pitchFamily="-123" charset="0"/>
                <a:cs typeface="Helvetica" pitchFamily="-123" charset="0"/>
              </a:rPr>
              <a:t>EXCITEMENT, GAIN ALIGNMENT, and TRANSFER IDEAS</a:t>
            </a:r>
          </a:p>
        </p:txBody>
      </p:sp>
      <p:sp>
        <p:nvSpPr>
          <p:cNvPr id="4" name="Rectangle 11"/>
          <p:cNvSpPr>
            <a:spLocks noChangeArrowheads="1"/>
          </p:cNvSpPr>
          <p:nvPr/>
        </p:nvSpPr>
        <p:spPr bwMode="auto">
          <a:xfrm>
            <a:off x="144463" y="382588"/>
            <a:ext cx="8618537" cy="609600"/>
          </a:xfrm>
          <a:prstGeom prst="rect">
            <a:avLst/>
          </a:prstGeom>
          <a:noFill/>
          <a:ln w="9525">
            <a:noFill/>
            <a:miter lim="800000"/>
            <a:headEnd/>
            <a:tailEnd/>
          </a:ln>
        </p:spPr>
        <p:txBody>
          <a:bodyPr lIns="0" tIns="0" rIns="0" bIns="0">
            <a:prstTxWarp prst="textNoShape">
              <a:avLst/>
            </a:prstTxWarp>
            <a:spAutoFit/>
          </a:bodyPr>
          <a:lstStyle/>
          <a:p>
            <a:pPr defTabSz="895350"/>
            <a:r>
              <a:rPr lang="en-US" sz="4000" b="1" dirty="0" smtClean="0">
                <a:solidFill>
                  <a:srgbClr val="FF0000"/>
                </a:solidFill>
                <a:latin typeface="Helvetica" pitchFamily="-123" charset="0"/>
                <a:ea typeface="Helvetica" pitchFamily="-123" charset="0"/>
                <a:cs typeface="Helvetica" pitchFamily="-123" charset="0"/>
              </a:rPr>
              <a:t>WHY </a:t>
            </a:r>
            <a:r>
              <a:rPr lang="en-US" sz="4000" dirty="0" smtClean="0">
                <a:solidFill>
                  <a:srgbClr val="FF0000"/>
                </a:solidFill>
                <a:latin typeface="Helvetica" pitchFamily="-123" charset="0"/>
                <a:ea typeface="Helvetica" pitchFamily="-123" charset="0"/>
                <a:cs typeface="Helvetica" pitchFamily="-123" charset="0"/>
              </a:rPr>
              <a:t>brainstorm</a:t>
            </a:r>
            <a:endParaRPr lang="en-US" sz="4000" b="1" dirty="0">
              <a:solidFill>
                <a:srgbClr val="FF0000"/>
              </a:solidFill>
              <a:latin typeface="Helvetica" pitchFamily="-123" charset="0"/>
              <a:ea typeface="Helvetica" pitchFamily="-123" charset="0"/>
              <a:cs typeface="Helvetica" pitchFamily="-123"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5" name="Picture 1"/>
          <p:cNvPicPr>
            <a:picLocks noChangeAspect="1" noChangeArrowheads="1"/>
          </p:cNvPicPr>
          <p:nvPr/>
        </p:nvPicPr>
        <p:blipFill>
          <a:blip r:embed="rId3"/>
          <a:srcRect/>
          <a:stretch>
            <a:fillRect/>
          </a:stretch>
        </p:blipFill>
        <p:spPr bwMode="auto">
          <a:xfrm>
            <a:off x="1248144" y="1300163"/>
            <a:ext cx="6524256" cy="4491037"/>
          </a:xfrm>
          <a:prstGeom prst="rect">
            <a:avLst/>
          </a:prstGeom>
          <a:noFill/>
          <a:ln w="12700" cap="flat">
            <a:noFill/>
            <a:miter lim="800000"/>
            <a:headEnd/>
            <a:tailEnd/>
          </a:ln>
          <a:effectLst>
            <a:outerShdw blurRad="76200" dist="63499" dir="5400000" algn="ctr" rotWithShape="0">
              <a:schemeClr val="bg2">
                <a:alpha val="45000"/>
              </a:schemeClr>
            </a:outerShdw>
          </a:effectLst>
        </p:spPr>
      </p:pic>
      <p:sp>
        <p:nvSpPr>
          <p:cNvPr id="7" name="Rectangle 2"/>
          <p:cNvSpPr txBox="1">
            <a:spLocks noChangeArrowheads="1"/>
          </p:cNvSpPr>
          <p:nvPr/>
        </p:nvSpPr>
        <p:spPr bwMode="auto">
          <a:xfrm>
            <a:off x="201612" y="222250"/>
            <a:ext cx="7113588" cy="609600"/>
          </a:xfrm>
          <a:prstGeom prst="rect">
            <a:avLst/>
          </a:prstGeom>
          <a:noFill/>
          <a:ln w="9525">
            <a:noFill/>
            <a:miter lim="800000"/>
            <a:headEnd/>
            <a:tailEnd/>
          </a:ln>
          <a:effectLst/>
        </p:spPr>
        <p:txBody>
          <a:bodyPr lIns="0" tIns="0" rIns="0" bIns="0">
            <a:prstTxWarp prst="textNoShape">
              <a:avLst/>
            </a:prstTxWarp>
            <a:spAutoFit/>
          </a:bodyPr>
          <a:lstStyle/>
          <a:p>
            <a:pPr defTabSz="895350">
              <a:defRPr/>
            </a:pPr>
            <a:r>
              <a:rPr lang="en-US" sz="4000" b="1" kern="0" dirty="0" smtClean="0">
                <a:solidFill>
                  <a:srgbClr val="FF0000"/>
                </a:solidFill>
                <a:latin typeface="Helvetica"/>
                <a:ea typeface="+mj-ea"/>
                <a:cs typeface="Helvetica"/>
              </a:rPr>
              <a:t>HOW</a:t>
            </a:r>
            <a:r>
              <a:rPr lang="en-US" sz="4000" kern="0" dirty="0" smtClean="0">
                <a:solidFill>
                  <a:srgbClr val="FF0000"/>
                </a:solidFill>
                <a:latin typeface="Helvetica"/>
                <a:ea typeface="+mj-ea"/>
                <a:cs typeface="Helvetica"/>
              </a:rPr>
              <a:t> </a:t>
            </a:r>
            <a:r>
              <a:rPr lang="en-US" sz="4000" kern="0" dirty="0" smtClean="0">
                <a:solidFill>
                  <a:srgbClr val="FF0000"/>
                </a:solidFill>
                <a:latin typeface="Helvetica"/>
                <a:ea typeface="+mj-ea"/>
                <a:cs typeface="Helvetica"/>
              </a:rPr>
              <a:t>to brainstorm: </a:t>
            </a:r>
            <a:r>
              <a:rPr lang="en-US" sz="4000" b="1" kern="0" dirty="0">
                <a:solidFill>
                  <a:srgbClr val="FF0000"/>
                </a:solidFill>
                <a:latin typeface="Helvetica"/>
                <a:ea typeface="+mj-ea"/>
                <a:cs typeface="Helvetica"/>
              </a:rPr>
              <a:t>RULES</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5058" name="TextBox 3"/>
          <p:cNvSpPr txBox="1">
            <a:spLocks noChangeArrowheads="1"/>
          </p:cNvSpPr>
          <p:nvPr/>
        </p:nvSpPr>
        <p:spPr bwMode="auto">
          <a:xfrm>
            <a:off x="152400" y="5250359"/>
            <a:ext cx="8763000" cy="769441"/>
          </a:xfrm>
          <a:prstGeom prst="rect">
            <a:avLst/>
          </a:prstGeom>
          <a:noFill/>
          <a:ln w="9525">
            <a:noFill/>
            <a:miter lim="800000"/>
            <a:headEnd/>
            <a:tailEnd/>
          </a:ln>
        </p:spPr>
        <p:txBody>
          <a:bodyPr>
            <a:prstTxWarp prst="textNoShape">
              <a:avLst/>
            </a:prstTxWarp>
            <a:spAutoFit/>
          </a:bodyPr>
          <a:lstStyle/>
          <a:p>
            <a:r>
              <a:rPr lang="en-US" sz="2200" b="1" dirty="0" smtClean="0">
                <a:latin typeface="Helvetica" pitchFamily="-123" charset="0"/>
                <a:ea typeface="Neutra Text" charset="0"/>
                <a:cs typeface="Neutra Text" charset="0"/>
              </a:rPr>
              <a:t>05 MIN: </a:t>
            </a:r>
            <a:r>
              <a:rPr lang="en-US" sz="2200" dirty="0" smtClean="0">
                <a:latin typeface="Helvetica" pitchFamily="-123" charset="0"/>
                <a:ea typeface="Neutra Text" charset="0"/>
                <a:cs typeface="Neutra Text" charset="0"/>
              </a:rPr>
              <a:t>Stoke activity</a:t>
            </a:r>
            <a:endParaRPr lang="en-US" sz="2200" b="1" dirty="0" smtClean="0">
              <a:latin typeface="Helvetica" pitchFamily="-123" charset="0"/>
              <a:ea typeface="Neutra Text" charset="0"/>
              <a:cs typeface="Neutra Text" charset="0"/>
            </a:endParaRPr>
          </a:p>
          <a:p>
            <a:r>
              <a:rPr lang="en-US" sz="2200" b="1" dirty="0" smtClean="0">
                <a:latin typeface="Helvetica" pitchFamily="-123" charset="0"/>
                <a:ea typeface="Neutra Text" charset="0"/>
                <a:cs typeface="Neutra Text" charset="0"/>
              </a:rPr>
              <a:t>30 </a:t>
            </a:r>
            <a:r>
              <a:rPr lang="en-US" sz="2200" b="1" dirty="0">
                <a:latin typeface="Helvetica" pitchFamily="-123" charset="0"/>
                <a:ea typeface="Neutra Text" charset="0"/>
                <a:cs typeface="Neutra Text" charset="0"/>
              </a:rPr>
              <a:t>MIN</a:t>
            </a:r>
            <a:r>
              <a:rPr lang="en-US" sz="2200" dirty="0">
                <a:latin typeface="Helvetica" pitchFamily="-123" charset="0"/>
                <a:ea typeface="Neutra Text" charset="0"/>
                <a:cs typeface="Neutra Text" charset="0"/>
              </a:rPr>
              <a:t>: Setup, load, and run your brainstorming </a:t>
            </a:r>
            <a:r>
              <a:rPr lang="en-US" sz="2200" dirty="0" err="1">
                <a:latin typeface="Helvetica" pitchFamily="-123" charset="0"/>
                <a:ea typeface="Neutra Text" charset="0"/>
                <a:cs typeface="Neutra Text" charset="0"/>
              </a:rPr>
              <a:t>session(s</a:t>
            </a:r>
            <a:r>
              <a:rPr lang="en-US" sz="2200" dirty="0" smtClean="0">
                <a:latin typeface="Helvetica" pitchFamily="-123" charset="0"/>
                <a:ea typeface="Neutra Text" charset="0"/>
                <a:cs typeface="Neutra Text" charset="0"/>
              </a:rPr>
              <a:t>)</a:t>
            </a:r>
          </a:p>
        </p:txBody>
      </p:sp>
      <p:pic>
        <p:nvPicPr>
          <p:cNvPr id="8" name="Picture 7"/>
          <p:cNvPicPr>
            <a:picLocks noChangeAspect="1"/>
          </p:cNvPicPr>
          <p:nvPr/>
        </p:nvPicPr>
        <p:blipFill>
          <a:blip r:embed="rId3"/>
          <a:stretch>
            <a:fillRect/>
          </a:stretch>
        </p:blipFill>
        <p:spPr>
          <a:xfrm>
            <a:off x="1143000" y="1143000"/>
            <a:ext cx="6934200" cy="4160520"/>
          </a:xfrm>
          <a:prstGeom prst="rect">
            <a:avLst/>
          </a:prstGeom>
        </p:spPr>
      </p:pic>
      <p:sp>
        <p:nvSpPr>
          <p:cNvPr id="9" name="Rectangle 2"/>
          <p:cNvSpPr txBox="1">
            <a:spLocks noChangeArrowheads="1"/>
          </p:cNvSpPr>
          <p:nvPr/>
        </p:nvSpPr>
        <p:spPr bwMode="auto">
          <a:xfrm>
            <a:off x="201612" y="222250"/>
            <a:ext cx="7113588" cy="609600"/>
          </a:xfrm>
          <a:prstGeom prst="rect">
            <a:avLst/>
          </a:prstGeom>
          <a:noFill/>
          <a:ln w="9525">
            <a:noFill/>
            <a:miter lim="800000"/>
            <a:headEnd/>
            <a:tailEnd/>
          </a:ln>
          <a:effectLst/>
        </p:spPr>
        <p:txBody>
          <a:bodyPr lIns="0" tIns="0" rIns="0" bIns="0">
            <a:prstTxWarp prst="textNoShape">
              <a:avLst/>
            </a:prstTxWarp>
            <a:spAutoFit/>
          </a:bodyPr>
          <a:lstStyle/>
          <a:p>
            <a:pPr defTabSz="895350">
              <a:defRPr/>
            </a:pPr>
            <a:r>
              <a:rPr lang="en-US" sz="4000" b="1" kern="0" dirty="0" smtClean="0">
                <a:solidFill>
                  <a:srgbClr val="FF0000"/>
                </a:solidFill>
                <a:latin typeface="Helvetica"/>
                <a:ea typeface="+mj-ea"/>
                <a:cs typeface="Helvetica"/>
              </a:rPr>
              <a:t>STOKE </a:t>
            </a:r>
            <a:r>
              <a:rPr lang="en-US" sz="4000" kern="0" dirty="0" smtClean="0">
                <a:solidFill>
                  <a:srgbClr val="FF0000"/>
                </a:solidFill>
                <a:latin typeface="Helvetica"/>
                <a:cs typeface="Helvetica"/>
              </a:rPr>
              <a:t>activity</a:t>
            </a:r>
            <a:endParaRPr lang="en-US" sz="4000" b="1" kern="0" dirty="0">
              <a:solidFill>
                <a:srgbClr val="FF0000"/>
              </a:solidFill>
              <a:latin typeface="Helvetica"/>
              <a:ea typeface="+mj-ea"/>
              <a:cs typeface="Helvetica"/>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7105" name="Picture 7" descr="dschool mindmap.jpg"/>
          <p:cNvPicPr>
            <a:picLocks noChangeAspect="1"/>
          </p:cNvPicPr>
          <p:nvPr/>
        </p:nvPicPr>
        <p:blipFill>
          <a:blip r:embed="rId3"/>
          <a:srcRect l="3754" r="6146"/>
          <a:stretch>
            <a:fillRect/>
          </a:stretch>
        </p:blipFill>
        <p:spPr bwMode="auto">
          <a:xfrm>
            <a:off x="0" y="-76200"/>
            <a:ext cx="9144000" cy="61595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sIf.HMLYhU.nmFtltontmA"/>
</p:tagLst>
</file>

<file path=ppt/tags/tag10.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s5FChWbXKEirXPpb3OlHVw"/>
</p:tagLst>
</file>

<file path=ppt/tags/tag1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AsmStAiwAUyhgjGrBpCjTw"/>
</p:tagLst>
</file>

<file path=ppt/tags/tag1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MdceZEhgWkSrgEgdGE7zNA"/>
</p:tagLst>
</file>

<file path=ppt/tags/tag1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U55Z5HoYQEe4ypnah4wCug"/>
</p:tagLst>
</file>

<file path=ppt/tags/tag1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UjSQx90Q0kWFbmeieJ7KLw"/>
</p:tagLst>
</file>

<file path=ppt/tags/tag1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9oDwjBqyx02ofcGbpBBVwg"/>
</p:tagLst>
</file>

<file path=ppt/tags/tag1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sIf.HMLYhU.nmFtltontmA"/>
</p:tagLst>
</file>

<file path=ppt/tags/tag1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BsLhQ2m2VE.JjAoMCojK6w"/>
</p:tagLst>
</file>

<file path=ppt/tags/tag18.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L.A_TkHNcECQ9QIRKfEU2A"/>
</p:tagLst>
</file>

<file path=ppt/tags/tag19.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3mRm.qMMYkCAKKEDrzi5fw"/>
</p:tagLst>
</file>

<file path=ppt/tags/tag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BsLhQ2m2VE.JjAoMCojK6w"/>
</p:tagLst>
</file>

<file path=ppt/tags/tag20.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0PxDL3mkr0evCvdFqQQQqA"/>
</p:tagLst>
</file>

<file path=ppt/tags/tag2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KuopvjdfDkGEG1wXi6hJiQ"/>
</p:tagLst>
</file>

<file path=ppt/tags/tag2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s5FChWbXKEirXPpb3OlHVw"/>
</p:tagLst>
</file>

<file path=ppt/tags/tag2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L.A_TkHNcECQ9QIRKfEU2A"/>
</p:tagLst>
</file>

<file path=ppt/tags/tag2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3mRm.qMMYkCAKKEDrzi5fw"/>
</p:tagLst>
</file>

<file path=ppt/tags/tag2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0PxDL3mkr0evCvdFqQQQqA"/>
</p:tagLst>
</file>

<file path=ppt/tags/tag2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KuopvjdfDkGEG1wXi6hJiQ"/>
</p:tagLst>
</file>

<file path=ppt/tags/tag2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s5FChWbXKEirXPpb3OlHVw"/>
</p:tagLst>
</file>

<file path=ppt/tags/tag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L.A_TkHNcECQ9QIRKfEU2A"/>
</p:tagLst>
</file>

<file path=ppt/tags/tag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U55Z5HoYQEe4ypnah4wCug"/>
</p:tagLst>
</file>

<file path=ppt/tags/tag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UjSQx90Q0kWFbmeieJ7KLw"/>
</p:tagLst>
</file>

<file path=ppt/tags/tag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9oDwjBqyx02ofcGbpBBVwg"/>
</p:tagLst>
</file>

<file path=ppt/tags/tag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3mRm.qMMYkCAKKEDrzi5fw"/>
</p:tagLst>
</file>

<file path=ppt/tags/tag8.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0PxDL3mkr0evCvdFqQQQqA"/>
</p:tagLst>
</file>

<file path=ppt/tags/tag9.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KuopvjdfDkGEG1wXi6hJiQ"/>
</p:tagLst>
</file>

<file path=ppt/theme/theme1.xml><?xml version="1.0" encoding="utf-8"?>
<a:theme xmlns:a="http://schemas.openxmlformats.org/drawingml/2006/main" name="CFI 2009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6058</TotalTime>
  <Words>462</Words>
  <Application>Microsoft Macintosh PowerPoint</Application>
  <PresentationFormat>On-screen Show (4:3)</PresentationFormat>
  <Paragraphs>37</Paragraphs>
  <Slides>12</Slides>
  <Notes>12</Notes>
  <HiddenSlides>0</HiddenSlides>
  <MMClips>0</MMClips>
  <ScaleCrop>false</ScaleCrop>
  <HeadingPairs>
    <vt:vector size="4" baseType="variant">
      <vt:variant>
        <vt:lpstr>Design Template</vt:lpstr>
      </vt:variant>
      <vt:variant>
        <vt:i4>1</vt:i4>
      </vt:variant>
      <vt:variant>
        <vt:lpstr>Slide Titles</vt:lpstr>
      </vt:variant>
      <vt:variant>
        <vt:i4>12</vt:i4>
      </vt:variant>
    </vt:vector>
  </HeadingPairs>
  <TitlesOfParts>
    <vt:vector size="13" baseType="lpstr">
      <vt:lpstr>CFI 2009 Template</vt:lpstr>
      <vt:lpstr>Slide 1</vt:lpstr>
      <vt:lpstr>Slide 2</vt:lpstr>
      <vt:lpstr>Slide 3</vt:lpstr>
      <vt:lpstr>Slide 4</vt:lpstr>
      <vt:lpstr>Slide 5</vt:lpstr>
      <vt:lpstr>Slide 6</vt:lpstr>
      <vt:lpstr>Slide 7</vt:lpstr>
      <vt:lpstr>Slide 8</vt:lpstr>
      <vt:lpstr>Slide 9</vt:lpstr>
      <vt:lpstr>Slide 10</vt:lpstr>
      <vt:lpstr>Slide 11</vt:lpstr>
      <vt:lpstr>Slide 12</vt:lpstr>
    </vt:vector>
  </TitlesOfParts>
  <Manager/>
  <Company/>
  <LinksUpToDate>false</LinksUpToDate>
  <SharedDoc>false</SharedDoc>
  <HyperlinkBase/>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subject/>
  <dc:creator>Lia Ramirez</dc:creator>
  <cp:keywords/>
  <dc:description/>
  <cp:lastModifiedBy>Coeylen Barry</cp:lastModifiedBy>
  <cp:revision>248</cp:revision>
  <cp:lastPrinted>2009-11-04T18:21:26Z</cp:lastPrinted>
  <dcterms:created xsi:type="dcterms:W3CDTF">2010-07-07T19:08:21Z</dcterms:created>
  <dcterms:modified xsi:type="dcterms:W3CDTF">2010-07-09T20:09:05Z</dcterms:modified>
  <cp:category/>
</cp:coreProperties>
</file>